
<file path=[Content_Types].xml><?xml version="1.0" encoding="utf-8"?>
<Types xmlns="http://schemas.openxmlformats.org/package/2006/content-types">
  <Default Extension="bin" ContentType="application/vnd.openxmlformats-officedocument.oleObject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6" r:id="rId3"/>
    <p:sldMasterId id="2147483705" r:id="rId4"/>
    <p:sldMasterId id="2147483739" r:id="rId5"/>
  </p:sldMasterIdLst>
  <p:notesMasterIdLst>
    <p:notesMasterId r:id="rId7"/>
  </p:notesMasterIdLst>
  <p:handoutMasterIdLst>
    <p:handoutMasterId r:id="rId8"/>
  </p:handoutMasterIdLst>
  <p:sldIdLst>
    <p:sldId id="2147478510" r:id="rId6"/>
  </p:sldIdLst>
  <p:sldSz cx="12192000" cy="6858000"/>
  <p:notesSz cx="6858000" cy="9144000"/>
  <p:custDataLst>
    <p:tags r:id="rId9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9508BFC-2FFD-054C-9C29-2BDE0D89A01E}">
          <p14:sldIdLst>
            <p14:sldId id="21474785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979" userDrawn="1">
          <p15:clr>
            <a:srgbClr val="A4A3A4"/>
          </p15:clr>
        </p15:guide>
        <p15:guide id="2" pos="1663" userDrawn="1">
          <p15:clr>
            <a:srgbClr val="A4A3A4"/>
          </p15:clr>
        </p15:guide>
        <p15:guide id="3" pos="39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E4E63F3-1614-91C1-6082-19A8DCBD8C6D}" name="Kay Wossidlo" initials="KW" userId="Kay Wossidlo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5672"/>
    <a:srgbClr val="DFE4EA"/>
    <a:srgbClr val="5F7795"/>
    <a:srgbClr val="31C5B6"/>
    <a:srgbClr val="C5C5C5"/>
    <a:srgbClr val="A6A6A6"/>
    <a:srgbClr val="CDD2D8"/>
    <a:srgbClr val="3232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orient="horz" pos="1979"/>
        <p:guide pos="1663"/>
        <p:guide pos="399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3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0DCB21-F4D3-D1D4-CF0D-BF78D59D28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A16866-EFD6-68E7-47B7-8B090D9388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225DF0-5E4A-495E-AD8C-CC8FDC636079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00D9FC-B05C-D34D-37E7-C6467BDC56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790B14-F39F-A965-0690-1D65B64684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1E73CE-A8F7-4FAA-8263-09231EA4F75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26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B1B49-9609-4E63-A375-FC459FA5B93F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E535FA-94A6-4DEF-8F84-D811EAB89C6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230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E535FA-94A6-4DEF-8F84-D811EAB89C6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75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oleObject" Target="../embeddings/oleObject3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oleObject" Target="../embeddings/oleObject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oleObject" Target="../embeddings/oleObject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oleObject" Target="../embeddings/oleObject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oleObject" Target="../embeddings/oleObject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oleObject" Target="../embeddings/oleObject2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4" Type="http://schemas.openxmlformats.org/officeDocument/2006/relationships/oleObject" Target="../embeddings/oleObject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oleObject" Target="../embeddings/oleObject2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oleObject" Target="../embeddings/oleObject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oleObject" Target="../embeddings/oleObject3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ictur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75BA6B-F8C2-E807-8022-A1B4DE60EA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28849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95A01BE-687A-73AA-CDAA-6AF5D6EE4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81469"/>
            <a:ext cx="11233149" cy="492443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176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4B329BE2-F1EB-CFAC-E9D5-5F2845E2F2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8645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329BE2-F1EB-CFAC-E9D5-5F2845E2F295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1A94CA4-747C-48AD-8CCF-BCDC1574F690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012236" y="1692000"/>
            <a:ext cx="27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24225" y="169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6813" y="1692000"/>
            <a:ext cx="27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228E40-D794-D694-384B-F6E414E46183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4F9AD7A3-6B92-B962-66D4-56529CEB423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B6C2D284-D6E3-C393-3BCD-5573759A49B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D33A480-49E8-2C44-10D1-7C3CFE1447B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D3027B3C-05C3-3966-E0B0-684DD50369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28241F37-E0B6-1A46-0543-9AD2EFA5720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51127DB7-B1B7-1561-9E3A-0B13F8B46C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40FF7EBE-37E0-A6B6-7D55-4C92EB62994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Inhaltsplatzhalter 27">
            <a:extLst>
              <a:ext uri="{FF2B5EF4-FFF2-40B4-BE49-F238E27FC236}">
                <a16:creationId xmlns:a16="http://schemas.microsoft.com/office/drawing/2014/main" id="{6832BC50-CB14-A9FF-356C-FA925C21D70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841" y="403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20" name="Inhaltsplatzhalter 29">
            <a:extLst>
              <a:ext uri="{FF2B5EF4-FFF2-40B4-BE49-F238E27FC236}">
                <a16:creationId xmlns:a16="http://schemas.microsoft.com/office/drawing/2014/main" id="{C39AA555-B072-B329-BB31-96116F1479A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24225" y="4032000"/>
            <a:ext cx="2700338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21" name="Inhaltsplatzhalter 31">
            <a:extLst>
              <a:ext uri="{FF2B5EF4-FFF2-40B4-BE49-F238E27FC236}">
                <a16:creationId xmlns:a16="http://schemas.microsoft.com/office/drawing/2014/main" id="{0D398196-4C4F-14C8-5746-4E3B2100FE1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67438" y="4032000"/>
            <a:ext cx="2699375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22" name="Inhaltsplatzhalter 33">
            <a:extLst>
              <a:ext uri="{FF2B5EF4-FFF2-40B4-BE49-F238E27FC236}">
                <a16:creationId xmlns:a16="http://schemas.microsoft.com/office/drawing/2014/main" id="{6A63AFE8-A5D7-3EDC-B0C1-3DC44C1D10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12236" y="4032000"/>
            <a:ext cx="2700339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7F10153-F8E9-0DA8-C92D-8BCBB7DFE95C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593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86">
          <p15:clr>
            <a:srgbClr val="FBAE40"/>
          </p15:clr>
        </p15:guide>
        <p15:guide id="2" pos="2003">
          <p15:clr>
            <a:srgbClr val="FBAE40"/>
          </p15:clr>
        </p15:guide>
        <p15:guide id="3" pos="2094">
          <p15:clr>
            <a:srgbClr val="FBAE40"/>
          </p15:clr>
        </p15:guide>
        <p15:guide id="4" pos="5677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orient="horz" pos="2432">
          <p15:clr>
            <a:srgbClr val="FBAE40"/>
          </p15:clr>
        </p15:guide>
        <p15:guide id="8" orient="horz" pos="256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A2ED548-DCAB-5656-E2CE-EBDF7CFF2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19455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ED548-DCAB-5656-E2CE-EBDF7CFF23FF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EA66DC-F7FA-469D-B506-4D685858CA1A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5375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7525375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BFF90CE-A2FF-C02C-F80D-4DE000A6C398}"/>
              </a:ext>
            </a:extLst>
          </p:cNvPr>
          <p:cNvSpPr/>
          <p:nvPr userDrawn="1"/>
        </p:nvSpPr>
        <p:spPr>
          <a:xfrm>
            <a:off x="8232000" y="0"/>
            <a:ext cx="3960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25B8628-142D-7ED1-68D7-25FD892A12F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435975" y="1692000"/>
            <a:ext cx="3264025" cy="4500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3C70CF-753F-D510-E895-E3CFD6EB45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8" name="Freihandform: Form 7">
              <a:extLst>
                <a:ext uri="{FF2B5EF4-FFF2-40B4-BE49-F238E27FC236}">
                  <a16:creationId xmlns:a16="http://schemas.microsoft.com/office/drawing/2014/main" id="{5CDB7669-1DB2-0FAC-F801-24DEB2DD274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8">
              <a:extLst>
                <a:ext uri="{FF2B5EF4-FFF2-40B4-BE49-F238E27FC236}">
                  <a16:creationId xmlns:a16="http://schemas.microsoft.com/office/drawing/2014/main" id="{27FB14C3-E947-F413-8FD2-A7AF1E7989E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9">
              <a:extLst>
                <a:ext uri="{FF2B5EF4-FFF2-40B4-BE49-F238E27FC236}">
                  <a16:creationId xmlns:a16="http://schemas.microsoft.com/office/drawing/2014/main" id="{28A2959C-3FEE-8DF2-EE48-3A24798455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10">
              <a:extLst>
                <a:ext uri="{FF2B5EF4-FFF2-40B4-BE49-F238E27FC236}">
                  <a16:creationId xmlns:a16="http://schemas.microsoft.com/office/drawing/2014/main" id="{795D6829-EB25-0728-76A8-AB446BA22CE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1">
              <a:extLst>
                <a:ext uri="{FF2B5EF4-FFF2-40B4-BE49-F238E27FC236}">
                  <a16:creationId xmlns:a16="http://schemas.microsoft.com/office/drawing/2014/main" id="{0B852306-ADD4-B60B-EC90-CC7B5907D9C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2">
              <a:extLst>
                <a:ext uri="{FF2B5EF4-FFF2-40B4-BE49-F238E27FC236}">
                  <a16:creationId xmlns:a16="http://schemas.microsoft.com/office/drawing/2014/main" id="{5F3B4D96-3417-D8F2-FD63-C5B77B61045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3">
              <a:extLst>
                <a:ext uri="{FF2B5EF4-FFF2-40B4-BE49-F238E27FC236}">
                  <a16:creationId xmlns:a16="http://schemas.microsoft.com/office/drawing/2014/main" id="{B82861F6-CFA3-DF75-5B2D-72F5B0766AF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0F5F9D30-361D-61A2-8B77-47A2990E8CCB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962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2">
          <p15:clr>
            <a:srgbClr val="FBAE40"/>
          </p15:clr>
        </p15:guide>
        <p15:guide id="3" pos="5178">
          <p15:clr>
            <a:srgbClr val="FBAE40"/>
          </p15:clr>
        </p15:guide>
        <p15:guide id="4" pos="531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 Sma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5BEA7ED-9FCA-D3F3-E720-C5BD72E8C0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17875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BEA7ED-9FCA-D3F3-E720-C5BD72E8C0E9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181667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6E1B7B-9181-4950-A4DE-6D399553236A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9181667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9181667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BFF90CE-A2FF-C02C-F80D-4DE000A6C398}"/>
              </a:ext>
            </a:extLst>
          </p:cNvPr>
          <p:cNvSpPr/>
          <p:nvPr userDrawn="1"/>
        </p:nvSpPr>
        <p:spPr>
          <a:xfrm>
            <a:off x="9852000" y="0"/>
            <a:ext cx="2340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3C70CF-753F-D510-E895-E3CFD6EB45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8" name="Freihandform: Form 7">
              <a:extLst>
                <a:ext uri="{FF2B5EF4-FFF2-40B4-BE49-F238E27FC236}">
                  <a16:creationId xmlns:a16="http://schemas.microsoft.com/office/drawing/2014/main" id="{5CDB7669-1DB2-0FAC-F801-24DEB2DD274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8">
              <a:extLst>
                <a:ext uri="{FF2B5EF4-FFF2-40B4-BE49-F238E27FC236}">
                  <a16:creationId xmlns:a16="http://schemas.microsoft.com/office/drawing/2014/main" id="{27FB14C3-E947-F413-8FD2-A7AF1E7989E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9">
              <a:extLst>
                <a:ext uri="{FF2B5EF4-FFF2-40B4-BE49-F238E27FC236}">
                  <a16:creationId xmlns:a16="http://schemas.microsoft.com/office/drawing/2014/main" id="{28A2959C-3FEE-8DF2-EE48-3A24798455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10">
              <a:extLst>
                <a:ext uri="{FF2B5EF4-FFF2-40B4-BE49-F238E27FC236}">
                  <a16:creationId xmlns:a16="http://schemas.microsoft.com/office/drawing/2014/main" id="{795D6829-EB25-0728-76A8-AB446BA22CE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1">
              <a:extLst>
                <a:ext uri="{FF2B5EF4-FFF2-40B4-BE49-F238E27FC236}">
                  <a16:creationId xmlns:a16="http://schemas.microsoft.com/office/drawing/2014/main" id="{0B852306-ADD4-B60B-EC90-CC7B5907D9C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2">
              <a:extLst>
                <a:ext uri="{FF2B5EF4-FFF2-40B4-BE49-F238E27FC236}">
                  <a16:creationId xmlns:a16="http://schemas.microsoft.com/office/drawing/2014/main" id="{5F3B4D96-3417-D8F2-FD63-C5B77B61045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3">
              <a:extLst>
                <a:ext uri="{FF2B5EF4-FFF2-40B4-BE49-F238E27FC236}">
                  <a16:creationId xmlns:a16="http://schemas.microsoft.com/office/drawing/2014/main" id="{B82861F6-CFA3-DF75-5B2D-72F5B0766AF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F745569E-8C36-4E88-7522-ACF8435D5221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690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085">
          <p15:clr>
            <a:srgbClr val="FBAE40"/>
          </p15:clr>
        </p15:guide>
        <p15:guide id="4" pos="61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AEAD98-602E-10A5-9C83-93A8A4640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1227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AEAD98-602E-10A5-9C83-93A8A46403F8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4FD26-FF70-4029-9D6D-DF7837176FCF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5375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7525375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50AB6BBE-0061-31AA-C7C9-1D13AD444A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435976" y="4249"/>
            <a:ext cx="3756024" cy="63817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978CC3F-43EF-C41F-FF6F-3A1821D12AEC}"/>
              </a:ext>
            </a:extLst>
          </p:cNvPr>
          <p:cNvGrpSpPr/>
          <p:nvPr userDrawn="1"/>
        </p:nvGrpSpPr>
        <p:grpSpPr>
          <a:xfrm>
            <a:off x="10230531" y="365260"/>
            <a:ext cx="1472671" cy="212964"/>
            <a:chOff x="10240056" y="330434"/>
            <a:chExt cx="1472671" cy="212964"/>
          </a:xfrm>
        </p:grpSpPr>
        <p:sp>
          <p:nvSpPr>
            <p:cNvPr id="29" name="Freihandform: Form 7">
              <a:extLst>
                <a:ext uri="{FF2B5EF4-FFF2-40B4-BE49-F238E27FC236}">
                  <a16:creationId xmlns:a16="http://schemas.microsoft.com/office/drawing/2014/main" id="{994FB37B-455B-ED21-9864-D0A29776AFF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8">
              <a:extLst>
                <a:ext uri="{FF2B5EF4-FFF2-40B4-BE49-F238E27FC236}">
                  <a16:creationId xmlns:a16="http://schemas.microsoft.com/office/drawing/2014/main" id="{CFA7F90D-C968-E5FF-CA07-3EA7301C8E7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9">
              <a:extLst>
                <a:ext uri="{FF2B5EF4-FFF2-40B4-BE49-F238E27FC236}">
                  <a16:creationId xmlns:a16="http://schemas.microsoft.com/office/drawing/2014/main" id="{274C797D-2B6E-00A4-DA0B-9FF063CE54E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0">
              <a:extLst>
                <a:ext uri="{FF2B5EF4-FFF2-40B4-BE49-F238E27FC236}">
                  <a16:creationId xmlns:a16="http://schemas.microsoft.com/office/drawing/2014/main" id="{03B23200-5FEC-8BAB-90A4-3B2A4977D6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1">
              <a:extLst>
                <a:ext uri="{FF2B5EF4-FFF2-40B4-BE49-F238E27FC236}">
                  <a16:creationId xmlns:a16="http://schemas.microsoft.com/office/drawing/2014/main" id="{351EFA1C-8B85-0BFA-4558-18EF2537A88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2">
              <a:extLst>
                <a:ext uri="{FF2B5EF4-FFF2-40B4-BE49-F238E27FC236}">
                  <a16:creationId xmlns:a16="http://schemas.microsoft.com/office/drawing/2014/main" id="{9A2AFE66-B8AD-04BA-389A-00A6E15190E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23F8B919-D2D3-C296-0382-3E894102D8A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3C955738-85FF-4E89-54A5-AB65B8D1F60A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37" name="Freihandform: Form 7">
              <a:extLst>
                <a:ext uri="{FF2B5EF4-FFF2-40B4-BE49-F238E27FC236}">
                  <a16:creationId xmlns:a16="http://schemas.microsoft.com/office/drawing/2014/main" id="{D715445B-CD05-D140-6FE5-1FDB2E84F24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ihandform: Form 8">
              <a:extLst>
                <a:ext uri="{FF2B5EF4-FFF2-40B4-BE49-F238E27FC236}">
                  <a16:creationId xmlns:a16="http://schemas.microsoft.com/office/drawing/2014/main" id="{655D33F0-DE72-7BB7-8145-6F90A4D120A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ihandform: Form 9">
              <a:extLst>
                <a:ext uri="{FF2B5EF4-FFF2-40B4-BE49-F238E27FC236}">
                  <a16:creationId xmlns:a16="http://schemas.microsoft.com/office/drawing/2014/main" id="{1E15F16B-2252-32ED-59A4-6DC75FCAC06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ihandform: Form 10">
              <a:extLst>
                <a:ext uri="{FF2B5EF4-FFF2-40B4-BE49-F238E27FC236}">
                  <a16:creationId xmlns:a16="http://schemas.microsoft.com/office/drawing/2014/main" id="{ED68C76F-A021-3F5C-E347-8D19FE69D18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ihandform: Form 11">
              <a:extLst>
                <a:ext uri="{FF2B5EF4-FFF2-40B4-BE49-F238E27FC236}">
                  <a16:creationId xmlns:a16="http://schemas.microsoft.com/office/drawing/2014/main" id="{1C6BD9A9-431D-E021-23A4-BDDEDB30501C}"/>
                </a:ext>
              </a:extLst>
            </p:cNvPr>
            <p:cNvSpPr/>
            <p:nvPr userDrawn="1"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ihandform: Form 12">
              <a:extLst>
                <a:ext uri="{FF2B5EF4-FFF2-40B4-BE49-F238E27FC236}">
                  <a16:creationId xmlns:a16="http://schemas.microsoft.com/office/drawing/2014/main" id="{F369213B-E233-D1BD-714A-C282781A718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ihandform: Form 13">
              <a:extLst>
                <a:ext uri="{FF2B5EF4-FFF2-40B4-BE49-F238E27FC236}">
                  <a16:creationId xmlns:a16="http://schemas.microsoft.com/office/drawing/2014/main" id="{20528F7C-A5C0-322F-15A7-A6EB0EBB116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5007780E-EF85-47BF-01C3-6CC51B17A3A1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7958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2">
          <p15:clr>
            <a:srgbClr val="FBAE40"/>
          </p15:clr>
        </p15:guide>
        <p15:guide id="3" pos="5178">
          <p15:clr>
            <a:srgbClr val="FBAE40"/>
          </p15:clr>
        </p15:guide>
        <p15:guide id="4" pos="531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8E672F57-10FB-F066-7E86-BE03DAEBE2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20209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72F57-10FB-F066-7E86-BE03DAEBE2EB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1" y="396000"/>
            <a:ext cx="5472738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9FDF882-5A0C-4309-B4AB-D446F747FCFA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5472739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5472738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50AB6BBE-0061-31AA-C7C9-1D13AD444A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40463" y="0"/>
            <a:ext cx="5951537" cy="638175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978CC3F-43EF-C41F-FF6F-3A1821D12AEC}"/>
              </a:ext>
            </a:extLst>
          </p:cNvPr>
          <p:cNvGrpSpPr/>
          <p:nvPr userDrawn="1"/>
        </p:nvGrpSpPr>
        <p:grpSpPr>
          <a:xfrm>
            <a:off x="10240056" y="333510"/>
            <a:ext cx="1472671" cy="212964"/>
            <a:chOff x="10240056" y="330434"/>
            <a:chExt cx="1472671" cy="212964"/>
          </a:xfrm>
        </p:grpSpPr>
        <p:sp>
          <p:nvSpPr>
            <p:cNvPr id="29" name="Freihandform: Form 7">
              <a:extLst>
                <a:ext uri="{FF2B5EF4-FFF2-40B4-BE49-F238E27FC236}">
                  <a16:creationId xmlns:a16="http://schemas.microsoft.com/office/drawing/2014/main" id="{994FB37B-455B-ED21-9864-D0A29776AFF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8">
              <a:extLst>
                <a:ext uri="{FF2B5EF4-FFF2-40B4-BE49-F238E27FC236}">
                  <a16:creationId xmlns:a16="http://schemas.microsoft.com/office/drawing/2014/main" id="{CFA7F90D-C968-E5FF-CA07-3EA7301C8E7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9">
              <a:extLst>
                <a:ext uri="{FF2B5EF4-FFF2-40B4-BE49-F238E27FC236}">
                  <a16:creationId xmlns:a16="http://schemas.microsoft.com/office/drawing/2014/main" id="{274C797D-2B6E-00A4-DA0B-9FF063CE54E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0">
              <a:extLst>
                <a:ext uri="{FF2B5EF4-FFF2-40B4-BE49-F238E27FC236}">
                  <a16:creationId xmlns:a16="http://schemas.microsoft.com/office/drawing/2014/main" id="{03B23200-5FEC-8BAB-90A4-3B2A4977D6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1">
              <a:extLst>
                <a:ext uri="{FF2B5EF4-FFF2-40B4-BE49-F238E27FC236}">
                  <a16:creationId xmlns:a16="http://schemas.microsoft.com/office/drawing/2014/main" id="{351EFA1C-8B85-0BFA-4558-18EF2537A88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2">
              <a:extLst>
                <a:ext uri="{FF2B5EF4-FFF2-40B4-BE49-F238E27FC236}">
                  <a16:creationId xmlns:a16="http://schemas.microsoft.com/office/drawing/2014/main" id="{9A2AFE66-B8AD-04BA-389A-00A6E15190E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23F8B919-D2D3-C296-0382-3E894102D8A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E17F75F-BC35-D4DC-FD0E-17F3F27921B9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D35FE251-4C46-AFE1-622E-62FF0BB7E24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40034F92-27D8-24F6-F38C-DE70FC67E07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1489A1B-9633-5BD2-B3D2-EF79EA42BEA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EBE72D7-EDD3-F309-E174-E30ED1CEA3B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4353866-F3D3-CBF0-47F0-5937D4B8946B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7CF9938-8004-AE5D-C723-D663967E854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C8FA3D1-CA91-E403-21D8-2671789E5F46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00585049-31E8-9A7F-1D26-5A09B2B67CB0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1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C7F4D3A-931D-41BC-84A7-75C1FAD60696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74116D9-19C4-8998-4BFB-1EF6E55BE74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24" name="Freihandform: Form 7">
              <a:extLst>
                <a:ext uri="{FF2B5EF4-FFF2-40B4-BE49-F238E27FC236}">
                  <a16:creationId xmlns:a16="http://schemas.microsoft.com/office/drawing/2014/main" id="{8DFA4C63-152A-DE5D-8685-482516025850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ihandform: Form 8">
              <a:extLst>
                <a:ext uri="{FF2B5EF4-FFF2-40B4-BE49-F238E27FC236}">
                  <a16:creationId xmlns:a16="http://schemas.microsoft.com/office/drawing/2014/main" id="{3F231653-1AEE-12DA-A8E9-FF3E1FC37F3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ihandform: Form 9">
              <a:extLst>
                <a:ext uri="{FF2B5EF4-FFF2-40B4-BE49-F238E27FC236}">
                  <a16:creationId xmlns:a16="http://schemas.microsoft.com/office/drawing/2014/main" id="{5481FC86-F6D6-A2B6-B975-6F20390D46C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ihandform: Form 10">
              <a:extLst>
                <a:ext uri="{FF2B5EF4-FFF2-40B4-BE49-F238E27FC236}">
                  <a16:creationId xmlns:a16="http://schemas.microsoft.com/office/drawing/2014/main" id="{4129373B-C3BE-9541-3832-6E92DE947B7B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0AA3BAE7-6DC3-9FE4-6C4B-CDD907363E5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F8F03606-DE20-CD1F-8922-44A49F5C287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DA975CBB-FFBE-8484-0724-0B9B53593649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13D47A0C-CCFC-13C2-E381-9DD99A1D3A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67E8F10F-2EFF-7F88-C1A3-124B136348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62" name="Textplatzhalter 8">
            <a:extLst>
              <a:ext uri="{FF2B5EF4-FFF2-40B4-BE49-F238E27FC236}">
                <a16:creationId xmlns:a16="http://schemas.microsoft.com/office/drawing/2014/main" id="{108C260D-4E48-6C99-0114-858537CDFE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DAAEA888-935A-E5B1-EE8A-69EEEF60BB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64" name="Textplatzhalter 8">
            <a:extLst>
              <a:ext uri="{FF2B5EF4-FFF2-40B4-BE49-F238E27FC236}">
                <a16:creationId xmlns:a16="http://schemas.microsoft.com/office/drawing/2014/main" id="{3EA537A4-7DCF-198D-C96D-CA34D6E1C19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0CE8FF73-8541-E49E-E067-9481DD56E38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255785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CF73F3F1-CA84-4D62-9EE9-6FC338188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9622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73F3F1-CA84-4D62-9EE9-6FC338188CB5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Grafik 60" descr="Ein Bild, das Kleidung, Person, Gebäude, Mann enthält.&#10;&#10;Automatisch generierte Beschreibung">
            <a:extLst>
              <a:ext uri="{FF2B5EF4-FFF2-40B4-BE49-F238E27FC236}">
                <a16:creationId xmlns:a16="http://schemas.microsoft.com/office/drawing/2014/main" id="{F8D94991-621D-1918-1F3C-E09749868ABA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7C7F2-EDEF-4BA8-AB89-64DFCFC24776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8BCD61A-60CA-E778-8FAF-D84C70AC046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3" name="Freihandform: Form 7">
              <a:extLst>
                <a:ext uri="{FF2B5EF4-FFF2-40B4-BE49-F238E27FC236}">
                  <a16:creationId xmlns:a16="http://schemas.microsoft.com/office/drawing/2014/main" id="{5CEBBD40-7D4F-BBE2-9520-8DCB1C62183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ihandform: Form 8">
              <a:extLst>
                <a:ext uri="{FF2B5EF4-FFF2-40B4-BE49-F238E27FC236}">
                  <a16:creationId xmlns:a16="http://schemas.microsoft.com/office/drawing/2014/main" id="{84E06951-BDC1-7169-A1B1-A8C52C39513D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ihandform: Form 9">
              <a:extLst>
                <a:ext uri="{FF2B5EF4-FFF2-40B4-BE49-F238E27FC236}">
                  <a16:creationId xmlns:a16="http://schemas.microsoft.com/office/drawing/2014/main" id="{B113BD63-0DCF-81D7-2EAA-04FCD5B9B48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ihandform: Form 10">
              <a:extLst>
                <a:ext uri="{FF2B5EF4-FFF2-40B4-BE49-F238E27FC236}">
                  <a16:creationId xmlns:a16="http://schemas.microsoft.com/office/drawing/2014/main" id="{74A0185C-7545-2884-AFBC-160292078BE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ihandform: Form 11">
              <a:extLst>
                <a:ext uri="{FF2B5EF4-FFF2-40B4-BE49-F238E27FC236}">
                  <a16:creationId xmlns:a16="http://schemas.microsoft.com/office/drawing/2014/main" id="{3A15687B-F925-2EC5-A5B7-BA2320237F8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ihandform: Form 12">
              <a:extLst>
                <a:ext uri="{FF2B5EF4-FFF2-40B4-BE49-F238E27FC236}">
                  <a16:creationId xmlns:a16="http://schemas.microsoft.com/office/drawing/2014/main" id="{470881D5-51DF-7717-4AA3-64AD818624D7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ihandform: Form 13">
              <a:extLst>
                <a:ext uri="{FF2B5EF4-FFF2-40B4-BE49-F238E27FC236}">
                  <a16:creationId xmlns:a16="http://schemas.microsoft.com/office/drawing/2014/main" id="{CA5F1405-18A5-1DC9-39FC-857C0BAFD18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AB262DF5-D896-82D8-BB53-D57978121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9F460655-3E59-DA38-D092-721C0927E9A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B6D8C916-CC36-7D82-EC89-15E46C6C457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344A0D8-D357-7CC1-36A1-CEFCE6B60C0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70" name="Textplatzhalter 8">
            <a:extLst>
              <a:ext uri="{FF2B5EF4-FFF2-40B4-BE49-F238E27FC236}">
                <a16:creationId xmlns:a16="http://schemas.microsoft.com/office/drawing/2014/main" id="{3CFA1BC3-5206-D14B-47C3-A4F9B5000CE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71" name="Textplatzhalter 8">
            <a:extLst>
              <a:ext uri="{FF2B5EF4-FFF2-40B4-BE49-F238E27FC236}">
                <a16:creationId xmlns:a16="http://schemas.microsoft.com/office/drawing/2014/main" id="{23A837E2-8F20-7805-91CF-1950FB51A7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80E926C-5994-AD1D-581D-CF2CC6BCC1E7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679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w Number + Pi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81F166CB-4A58-D8E8-C892-DE37E3C11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9556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166CB-4A58-D8E8-C892-DE37E3C111A6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55898FC-B8AF-4CD3-87EA-F5875D694DE5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vert="horz" anchor="ctr">
            <a:spAutoFit/>
          </a:bodyPr>
          <a:lstStyle>
            <a:lvl1pPr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0337" y="2529000"/>
            <a:ext cx="2493635" cy="1800000"/>
          </a:xfr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Textfeld 9">
            <a:extLst>
              <a:ext uri="{FF2B5EF4-FFF2-40B4-BE49-F238E27FC236}">
                <a16:creationId xmlns:a16="http://schemas.microsoft.com/office/drawing/2014/main" id="{D90972D7-E33B-B3BC-B634-EBA8C376B91F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5483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 + P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Person, Kleidung, Himmel, Mann enthält.&#10;&#10;Automatisch generierte Beschreibung">
            <a:extLst>
              <a:ext uri="{FF2B5EF4-FFF2-40B4-BE49-F238E27FC236}">
                <a16:creationId xmlns:a16="http://schemas.microsoft.com/office/drawing/2014/main" id="{C01CA1D9-83DF-0949-BC04-F3216F25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2198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F01418-C5C8-448F-89E0-1A14409E7621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0337" y="2529000"/>
            <a:ext cx="2493635" cy="1800000"/>
          </a:xfr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B066EEC3-A5F5-BFBB-4D0B-41247BE20990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785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chemeClr val="tx1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B5CB0655-82DF-0686-FAAC-56AEBB014FEC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196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Pictur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967C0DF-6EE0-8976-D5C8-19A91C07A0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9086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67C0DF-6EE0-8976-D5C8-19A91C07A0D5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Schwarzweiß, monochrom, monochrome Fotografie, Schild enthält.&#10;&#10;Automatisch generierte Beschreibung">
            <a:extLst>
              <a:ext uri="{FF2B5EF4-FFF2-40B4-BE49-F238E27FC236}">
                <a16:creationId xmlns:a16="http://schemas.microsoft.com/office/drawing/2014/main" id="{2D68E061-2E16-5B27-E16E-733B5BD665DF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18086"/>
            <a:ext cx="11233149" cy="194083"/>
          </a:xfrm>
        </p:spPr>
        <p:txBody>
          <a:bodyPr lIns="0" tIns="0" rIns="0" bIns="0" anchor="ctr" anchorCtr="0"/>
          <a:lstStyle>
            <a:lvl1pPr algn="r">
              <a:defRPr lang="de-DE" sz="1800" b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30F8B86-4730-D72D-10A3-7F0D936B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64125"/>
            <a:ext cx="11233149" cy="492443"/>
          </a:xfrm>
        </p:spPr>
        <p:txBody>
          <a:bodyPr vert="horz"/>
          <a:lstStyle>
            <a:lvl1pPr algn="l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3307714-6AE3-C649-A88C-B1E0A00E7E91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5CD0350E-1B4B-93C5-4042-6D7DD1480FD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7" name="Freihandform: Form 8">
              <a:extLst>
                <a:ext uri="{FF2B5EF4-FFF2-40B4-BE49-F238E27FC236}">
                  <a16:creationId xmlns:a16="http://schemas.microsoft.com/office/drawing/2014/main" id="{572C2126-4CA4-8173-7328-15F408CFAA6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8" name="Freihandform: Form 9">
              <a:extLst>
                <a:ext uri="{FF2B5EF4-FFF2-40B4-BE49-F238E27FC236}">
                  <a16:creationId xmlns:a16="http://schemas.microsoft.com/office/drawing/2014/main" id="{6BF00576-4CC5-D53B-E741-361ECBFE81C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F4B419BC-DDB3-61FE-AF01-6B26F9531D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A640000B-04B7-F422-4771-FF1C595C752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6A18C08D-4905-EB9A-3B0B-2BFEE313EE8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19F995E3-9E0F-CB57-7890-33D13EEA470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157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798F28A0-F5CE-7F81-9A86-23C702A9AE76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39" name="Freihandform: Form 7">
              <a:extLst>
                <a:ext uri="{FF2B5EF4-FFF2-40B4-BE49-F238E27FC236}">
                  <a16:creationId xmlns:a16="http://schemas.microsoft.com/office/drawing/2014/main" id="{E837E4E4-8534-0AEB-4AD3-51D31B6DB4E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0" name="Freihandform: Form 8">
              <a:extLst>
                <a:ext uri="{FF2B5EF4-FFF2-40B4-BE49-F238E27FC236}">
                  <a16:creationId xmlns:a16="http://schemas.microsoft.com/office/drawing/2014/main" id="{2130741B-FF6C-4041-D77B-BD8A63816E4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1" name="Freihandform: Form 9">
              <a:extLst>
                <a:ext uri="{FF2B5EF4-FFF2-40B4-BE49-F238E27FC236}">
                  <a16:creationId xmlns:a16="http://schemas.microsoft.com/office/drawing/2014/main" id="{A216FC4C-7124-AE7E-B613-60F6CD8BB16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2" name="Freihandform: Form 10">
              <a:extLst>
                <a:ext uri="{FF2B5EF4-FFF2-40B4-BE49-F238E27FC236}">
                  <a16:creationId xmlns:a16="http://schemas.microsoft.com/office/drawing/2014/main" id="{4F84DB8F-B135-FCE1-AA11-D212E1D8DC47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3" name="Freihandform: Form 11">
              <a:extLst>
                <a:ext uri="{FF2B5EF4-FFF2-40B4-BE49-F238E27FC236}">
                  <a16:creationId xmlns:a16="http://schemas.microsoft.com/office/drawing/2014/main" id="{9CB787C1-990A-8593-3314-C71F3A3040E5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4" name="Freihandform: Form 12">
              <a:extLst>
                <a:ext uri="{FF2B5EF4-FFF2-40B4-BE49-F238E27FC236}">
                  <a16:creationId xmlns:a16="http://schemas.microsoft.com/office/drawing/2014/main" id="{3BC5B3F7-F686-D899-4E51-A1D55851E4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5" name="Freihandform: Form 13">
              <a:extLst>
                <a:ext uri="{FF2B5EF4-FFF2-40B4-BE49-F238E27FC236}">
                  <a16:creationId xmlns:a16="http://schemas.microsoft.com/office/drawing/2014/main" id="{088378B8-A284-0C3F-F791-09E8509C291A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9981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B4F41F0-EEB0-AA9B-C28E-3D8D38A07A2D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23" name="Freihandform: Form 7">
              <a:extLst>
                <a:ext uri="{FF2B5EF4-FFF2-40B4-BE49-F238E27FC236}">
                  <a16:creationId xmlns:a16="http://schemas.microsoft.com/office/drawing/2014/main" id="{54EBE668-5973-846D-A77A-428B5E7D3A39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4" name="Freihandform: Form 8">
              <a:extLst>
                <a:ext uri="{FF2B5EF4-FFF2-40B4-BE49-F238E27FC236}">
                  <a16:creationId xmlns:a16="http://schemas.microsoft.com/office/drawing/2014/main" id="{23FAC38C-E669-0DB9-153F-36AB7943C40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5" name="Freihandform: Form 9">
              <a:extLst>
                <a:ext uri="{FF2B5EF4-FFF2-40B4-BE49-F238E27FC236}">
                  <a16:creationId xmlns:a16="http://schemas.microsoft.com/office/drawing/2014/main" id="{52A88C9F-188C-750B-D06B-BE56F405F14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6" name="Freihandform: Form 10">
              <a:extLst>
                <a:ext uri="{FF2B5EF4-FFF2-40B4-BE49-F238E27FC236}">
                  <a16:creationId xmlns:a16="http://schemas.microsoft.com/office/drawing/2014/main" id="{D5578205-B925-7FF2-4E0B-095A82049DB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7" name="Freihandform: Form 11">
              <a:extLst>
                <a:ext uri="{FF2B5EF4-FFF2-40B4-BE49-F238E27FC236}">
                  <a16:creationId xmlns:a16="http://schemas.microsoft.com/office/drawing/2014/main" id="{EDE2F598-5C9E-496B-4529-059674AD66A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58AC79AD-F66A-14F6-0B2C-E651F73B018E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3492E4C7-1724-51DF-41E4-A5DFCD2CE07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62F258B4-815D-DFCE-095D-CBCEC8162294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8213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57A4A9B8-C928-CB20-CAEA-3B78E9B781AC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37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382B33DE-28B0-2DFB-36EC-3CE7981604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8799" y="2578825"/>
            <a:ext cx="1790386" cy="218586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cap="all" baseline="0" dirty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PROJEKTINHALT</a:t>
            </a:r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0FFD150C-8DA6-73ED-930A-C293DFDCF4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8475" y="2578825"/>
            <a:ext cx="1790386" cy="21858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cap="all" baseline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ERFOLGE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1A0DF424-5224-333B-D7ED-012341F2A8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7432" y="2578825"/>
            <a:ext cx="1790386" cy="21858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cap="all" baseline="0" dirty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UNSERE ROLLE</a:t>
            </a: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08299A53-0EAB-545E-5B9A-36A306D68AA5}"/>
              </a:ext>
            </a:extLst>
          </p:cNvPr>
          <p:cNvSpPr/>
          <p:nvPr userDrawn="1"/>
        </p:nvSpPr>
        <p:spPr>
          <a:xfrm>
            <a:off x="0" y="1619887"/>
            <a:ext cx="12191701" cy="4161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D253BC4-2080-05B1-48AE-043B6B12C8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68754" y="1741574"/>
            <a:ext cx="1608373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UNDE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A2D186FC-2E00-F070-63F1-7CA81450AA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60688" y="1741574"/>
            <a:ext cx="2052037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ROJEKTTYP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79AD2616-F94C-FABA-8115-420C3A1FB6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95188" y="1741574"/>
            <a:ext cx="1390863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 CONSULTANTS</a:t>
            </a:r>
          </a:p>
        </p:txBody>
      </p:sp>
      <p:sp>
        <p:nvSpPr>
          <p:cNvPr id="32" name="Textplatzhalter 22">
            <a:extLst>
              <a:ext uri="{FF2B5EF4-FFF2-40B4-BE49-F238E27FC236}">
                <a16:creationId xmlns:a16="http://schemas.microsoft.com/office/drawing/2014/main" id="{B4E20E9E-EDC9-F77D-9230-C69827DE75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04225" y="1741574"/>
            <a:ext cx="1330391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LAUFZEI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56E741-995F-AA74-5FB6-5B6FC6C7F230}"/>
              </a:ext>
            </a:extLst>
          </p:cNvPr>
          <p:cNvSpPr/>
          <p:nvPr userDrawn="1"/>
        </p:nvSpPr>
        <p:spPr>
          <a:xfrm>
            <a:off x="0" y="0"/>
            <a:ext cx="12192000" cy="16198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C62097-443B-8684-8B05-508CFAB1E4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11233927" cy="615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Referenz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99572A-F465-965F-1DFA-4B0F2FA7E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A35DE-C653-4D65-BBC5-B2364EC7F3F6}" type="datetime1">
              <a:rPr lang="de-DE" smtClean="0"/>
              <a:t>03.06.25</a:t>
            </a:fld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86B6DE-C23E-AE7F-195A-333EC0FEE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ngebot GLKB-01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06440-8751-9F9B-B2A1-E4E9D5496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15" name="Freeform 127">
            <a:extLst>
              <a:ext uri="{FF2B5EF4-FFF2-40B4-BE49-F238E27FC236}">
                <a16:creationId xmlns:a16="http://schemas.microsoft.com/office/drawing/2014/main" id="{C8285784-2A18-1334-2385-F8ACD41DDB8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41885" y="1717475"/>
            <a:ext cx="288000" cy="221906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73737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70AB1CB-EDC7-2A39-59F7-9B06A04673F4}"/>
              </a:ext>
            </a:extLst>
          </p:cNvPr>
          <p:cNvGrpSpPr/>
          <p:nvPr userDrawn="1"/>
        </p:nvGrpSpPr>
        <p:grpSpPr>
          <a:xfrm>
            <a:off x="9325208" y="1707004"/>
            <a:ext cx="216000" cy="242847"/>
            <a:chOff x="9863618" y="1707004"/>
            <a:chExt cx="216000" cy="242847"/>
          </a:xfrm>
        </p:grpSpPr>
        <p:sp>
          <p:nvSpPr>
            <p:cNvPr id="220" name="Freeform 14">
              <a:extLst>
                <a:ext uri="{FF2B5EF4-FFF2-40B4-BE49-F238E27FC236}">
                  <a16:creationId xmlns:a16="http://schemas.microsoft.com/office/drawing/2014/main" id="{9C2921C1-75FA-89C3-B007-49C975BC72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3618" y="1707004"/>
              <a:ext cx="216000" cy="242847"/>
            </a:xfrm>
            <a:custGeom>
              <a:avLst/>
              <a:gdLst>
                <a:gd name="T0" fmla="*/ 79 w 86"/>
                <a:gd name="T1" fmla="*/ 41 h 96"/>
                <a:gd name="T2" fmla="*/ 59 w 86"/>
                <a:gd name="T3" fmla="*/ 18 h 96"/>
                <a:gd name="T4" fmla="*/ 27 w 86"/>
                <a:gd name="T5" fmla="*/ 18 h 96"/>
                <a:gd name="T6" fmla="*/ 7 w 86"/>
                <a:gd name="T7" fmla="*/ 41 h 96"/>
                <a:gd name="T8" fmla="*/ 7 w 86"/>
                <a:gd name="T9" fmla="*/ 55 h 96"/>
                <a:gd name="T10" fmla="*/ 15 w 86"/>
                <a:gd name="T11" fmla="*/ 80 h 96"/>
                <a:gd name="T12" fmla="*/ 43 w 86"/>
                <a:gd name="T13" fmla="*/ 96 h 96"/>
                <a:gd name="T14" fmla="*/ 71 w 86"/>
                <a:gd name="T15" fmla="*/ 80 h 96"/>
                <a:gd name="T16" fmla="*/ 79 w 86"/>
                <a:gd name="T17" fmla="*/ 55 h 96"/>
                <a:gd name="T18" fmla="*/ 71 w 86"/>
                <a:gd name="T19" fmla="*/ 20 h 96"/>
                <a:gd name="T20" fmla="*/ 75 w 86"/>
                <a:gd name="T21" fmla="*/ 39 h 96"/>
                <a:gd name="T22" fmla="*/ 63 w 86"/>
                <a:gd name="T23" fmla="*/ 38 h 96"/>
                <a:gd name="T24" fmla="*/ 71 w 86"/>
                <a:gd name="T25" fmla="*/ 20 h 96"/>
                <a:gd name="T26" fmla="*/ 43 w 86"/>
                <a:gd name="T27" fmla="*/ 67 h 96"/>
                <a:gd name="T28" fmla="*/ 27 w 86"/>
                <a:gd name="T29" fmla="*/ 56 h 96"/>
                <a:gd name="T30" fmla="*/ 27 w 86"/>
                <a:gd name="T31" fmla="*/ 40 h 96"/>
                <a:gd name="T32" fmla="*/ 43 w 86"/>
                <a:gd name="T33" fmla="*/ 29 h 96"/>
                <a:gd name="T34" fmla="*/ 59 w 86"/>
                <a:gd name="T35" fmla="*/ 40 h 96"/>
                <a:gd name="T36" fmla="*/ 59 w 86"/>
                <a:gd name="T37" fmla="*/ 56 h 96"/>
                <a:gd name="T38" fmla="*/ 58 w 86"/>
                <a:gd name="T39" fmla="*/ 62 h 96"/>
                <a:gd name="T40" fmla="*/ 47 w 86"/>
                <a:gd name="T41" fmla="*/ 69 h 96"/>
                <a:gd name="T42" fmla="*/ 58 w 86"/>
                <a:gd name="T43" fmla="*/ 62 h 96"/>
                <a:gd name="T44" fmla="*/ 30 w 86"/>
                <a:gd name="T45" fmla="*/ 73 h 96"/>
                <a:gd name="T46" fmla="*/ 32 w 86"/>
                <a:gd name="T47" fmla="*/ 64 h 96"/>
                <a:gd name="T48" fmla="*/ 23 w 86"/>
                <a:gd name="T49" fmla="*/ 53 h 96"/>
                <a:gd name="T50" fmla="*/ 23 w 86"/>
                <a:gd name="T51" fmla="*/ 43 h 96"/>
                <a:gd name="T52" fmla="*/ 23 w 86"/>
                <a:gd name="T53" fmla="*/ 53 h 96"/>
                <a:gd name="T54" fmla="*/ 30 w 86"/>
                <a:gd name="T55" fmla="*/ 23 h 96"/>
                <a:gd name="T56" fmla="*/ 32 w 86"/>
                <a:gd name="T57" fmla="*/ 32 h 96"/>
                <a:gd name="T58" fmla="*/ 47 w 86"/>
                <a:gd name="T59" fmla="*/ 27 h 96"/>
                <a:gd name="T60" fmla="*/ 58 w 86"/>
                <a:gd name="T61" fmla="*/ 34 h 96"/>
                <a:gd name="T62" fmla="*/ 47 w 86"/>
                <a:gd name="T63" fmla="*/ 27 h 96"/>
                <a:gd name="T64" fmla="*/ 68 w 86"/>
                <a:gd name="T65" fmla="*/ 48 h 96"/>
                <a:gd name="T66" fmla="*/ 63 w 86"/>
                <a:gd name="T67" fmla="*/ 48 h 96"/>
                <a:gd name="T68" fmla="*/ 43 w 86"/>
                <a:gd name="T69" fmla="*/ 4 h 96"/>
                <a:gd name="T70" fmla="*/ 43 w 86"/>
                <a:gd name="T71" fmla="*/ 25 h 96"/>
                <a:gd name="T72" fmla="*/ 43 w 86"/>
                <a:gd name="T73" fmla="*/ 4 h 96"/>
                <a:gd name="T74" fmla="*/ 7 w 86"/>
                <a:gd name="T75" fmla="*/ 23 h 96"/>
                <a:gd name="T76" fmla="*/ 23 w 86"/>
                <a:gd name="T77" fmla="*/ 38 h 96"/>
                <a:gd name="T78" fmla="*/ 11 w 86"/>
                <a:gd name="T79" fmla="*/ 39 h 96"/>
                <a:gd name="T80" fmla="*/ 11 w 86"/>
                <a:gd name="T81" fmla="*/ 57 h 96"/>
                <a:gd name="T82" fmla="*/ 23 w 86"/>
                <a:gd name="T83" fmla="*/ 58 h 96"/>
                <a:gd name="T84" fmla="*/ 7 w 86"/>
                <a:gd name="T85" fmla="*/ 73 h 96"/>
                <a:gd name="T86" fmla="*/ 31 w 86"/>
                <a:gd name="T87" fmla="*/ 77 h 96"/>
                <a:gd name="T88" fmla="*/ 55 w 86"/>
                <a:gd name="T89" fmla="*/ 77 h 96"/>
                <a:gd name="T90" fmla="*/ 79 w 86"/>
                <a:gd name="T91" fmla="*/ 73 h 96"/>
                <a:gd name="T92" fmla="*/ 63 w 86"/>
                <a:gd name="T93" fmla="*/ 58 h 96"/>
                <a:gd name="T94" fmla="*/ 75 w 86"/>
                <a:gd name="T95" fmla="*/ 5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6" h="96">
                  <a:moveTo>
                    <a:pt x="73" y="48"/>
                  </a:moveTo>
                  <a:cubicBezTo>
                    <a:pt x="75" y="46"/>
                    <a:pt x="77" y="43"/>
                    <a:pt x="79" y="41"/>
                  </a:cubicBezTo>
                  <a:cubicBezTo>
                    <a:pt x="84" y="33"/>
                    <a:pt x="86" y="25"/>
                    <a:pt x="83" y="21"/>
                  </a:cubicBezTo>
                  <a:cubicBezTo>
                    <a:pt x="79" y="15"/>
                    <a:pt x="70" y="15"/>
                    <a:pt x="59" y="18"/>
                  </a:cubicBezTo>
                  <a:cubicBezTo>
                    <a:pt x="55" y="7"/>
                    <a:pt x="49" y="0"/>
                    <a:pt x="43" y="0"/>
                  </a:cubicBezTo>
                  <a:cubicBezTo>
                    <a:pt x="37" y="0"/>
                    <a:pt x="31" y="7"/>
                    <a:pt x="27" y="18"/>
                  </a:cubicBezTo>
                  <a:cubicBezTo>
                    <a:pt x="16" y="15"/>
                    <a:pt x="7" y="15"/>
                    <a:pt x="3" y="21"/>
                  </a:cubicBezTo>
                  <a:cubicBezTo>
                    <a:pt x="0" y="25"/>
                    <a:pt x="2" y="33"/>
                    <a:pt x="7" y="41"/>
                  </a:cubicBezTo>
                  <a:cubicBezTo>
                    <a:pt x="9" y="43"/>
                    <a:pt x="11" y="46"/>
                    <a:pt x="13" y="48"/>
                  </a:cubicBezTo>
                  <a:cubicBezTo>
                    <a:pt x="11" y="50"/>
                    <a:pt x="9" y="53"/>
                    <a:pt x="7" y="55"/>
                  </a:cubicBezTo>
                  <a:cubicBezTo>
                    <a:pt x="2" y="63"/>
                    <a:pt x="0" y="71"/>
                    <a:pt x="3" y="75"/>
                  </a:cubicBezTo>
                  <a:cubicBezTo>
                    <a:pt x="6" y="78"/>
                    <a:pt x="10" y="80"/>
                    <a:pt x="15" y="80"/>
                  </a:cubicBezTo>
                  <a:cubicBezTo>
                    <a:pt x="19" y="80"/>
                    <a:pt x="23" y="79"/>
                    <a:pt x="27" y="78"/>
                  </a:cubicBezTo>
                  <a:cubicBezTo>
                    <a:pt x="31" y="89"/>
                    <a:pt x="37" y="96"/>
                    <a:pt x="43" y="96"/>
                  </a:cubicBezTo>
                  <a:cubicBezTo>
                    <a:pt x="49" y="96"/>
                    <a:pt x="55" y="89"/>
                    <a:pt x="59" y="78"/>
                  </a:cubicBezTo>
                  <a:cubicBezTo>
                    <a:pt x="63" y="79"/>
                    <a:pt x="67" y="80"/>
                    <a:pt x="71" y="80"/>
                  </a:cubicBezTo>
                  <a:cubicBezTo>
                    <a:pt x="76" y="80"/>
                    <a:pt x="80" y="78"/>
                    <a:pt x="83" y="75"/>
                  </a:cubicBezTo>
                  <a:cubicBezTo>
                    <a:pt x="86" y="71"/>
                    <a:pt x="84" y="63"/>
                    <a:pt x="79" y="55"/>
                  </a:cubicBezTo>
                  <a:cubicBezTo>
                    <a:pt x="77" y="53"/>
                    <a:pt x="75" y="50"/>
                    <a:pt x="73" y="48"/>
                  </a:cubicBezTo>
                  <a:close/>
                  <a:moveTo>
                    <a:pt x="71" y="20"/>
                  </a:moveTo>
                  <a:cubicBezTo>
                    <a:pt x="75" y="20"/>
                    <a:pt x="78" y="21"/>
                    <a:pt x="79" y="23"/>
                  </a:cubicBezTo>
                  <a:cubicBezTo>
                    <a:pt x="81" y="26"/>
                    <a:pt x="80" y="32"/>
                    <a:pt x="75" y="39"/>
                  </a:cubicBezTo>
                  <a:cubicBezTo>
                    <a:pt x="74" y="41"/>
                    <a:pt x="72" y="43"/>
                    <a:pt x="71" y="45"/>
                  </a:cubicBezTo>
                  <a:cubicBezTo>
                    <a:pt x="68" y="43"/>
                    <a:pt x="65" y="40"/>
                    <a:pt x="63" y="38"/>
                  </a:cubicBezTo>
                  <a:cubicBezTo>
                    <a:pt x="62" y="32"/>
                    <a:pt x="61" y="27"/>
                    <a:pt x="60" y="22"/>
                  </a:cubicBezTo>
                  <a:cubicBezTo>
                    <a:pt x="64" y="21"/>
                    <a:pt x="68" y="20"/>
                    <a:pt x="71" y="20"/>
                  </a:cubicBezTo>
                  <a:close/>
                  <a:moveTo>
                    <a:pt x="52" y="61"/>
                  </a:moveTo>
                  <a:cubicBezTo>
                    <a:pt x="49" y="63"/>
                    <a:pt x="46" y="65"/>
                    <a:pt x="43" y="67"/>
                  </a:cubicBezTo>
                  <a:cubicBezTo>
                    <a:pt x="40" y="65"/>
                    <a:pt x="37" y="63"/>
                    <a:pt x="34" y="61"/>
                  </a:cubicBezTo>
                  <a:cubicBezTo>
                    <a:pt x="32" y="60"/>
                    <a:pt x="29" y="58"/>
                    <a:pt x="27" y="56"/>
                  </a:cubicBezTo>
                  <a:cubicBezTo>
                    <a:pt x="27" y="54"/>
                    <a:pt x="27" y="51"/>
                    <a:pt x="27" y="48"/>
                  </a:cubicBezTo>
                  <a:cubicBezTo>
                    <a:pt x="27" y="45"/>
                    <a:pt x="27" y="42"/>
                    <a:pt x="27" y="40"/>
                  </a:cubicBezTo>
                  <a:cubicBezTo>
                    <a:pt x="29" y="38"/>
                    <a:pt x="32" y="36"/>
                    <a:pt x="34" y="35"/>
                  </a:cubicBezTo>
                  <a:cubicBezTo>
                    <a:pt x="37" y="33"/>
                    <a:pt x="40" y="31"/>
                    <a:pt x="43" y="29"/>
                  </a:cubicBezTo>
                  <a:cubicBezTo>
                    <a:pt x="46" y="31"/>
                    <a:pt x="49" y="33"/>
                    <a:pt x="52" y="35"/>
                  </a:cubicBezTo>
                  <a:cubicBezTo>
                    <a:pt x="54" y="36"/>
                    <a:pt x="57" y="38"/>
                    <a:pt x="59" y="40"/>
                  </a:cubicBezTo>
                  <a:cubicBezTo>
                    <a:pt x="59" y="42"/>
                    <a:pt x="59" y="45"/>
                    <a:pt x="59" y="48"/>
                  </a:cubicBezTo>
                  <a:cubicBezTo>
                    <a:pt x="59" y="51"/>
                    <a:pt x="59" y="54"/>
                    <a:pt x="59" y="56"/>
                  </a:cubicBezTo>
                  <a:cubicBezTo>
                    <a:pt x="57" y="58"/>
                    <a:pt x="54" y="60"/>
                    <a:pt x="52" y="61"/>
                  </a:cubicBezTo>
                  <a:close/>
                  <a:moveTo>
                    <a:pt x="58" y="62"/>
                  </a:moveTo>
                  <a:cubicBezTo>
                    <a:pt x="58" y="66"/>
                    <a:pt x="57" y="69"/>
                    <a:pt x="56" y="73"/>
                  </a:cubicBezTo>
                  <a:cubicBezTo>
                    <a:pt x="53" y="72"/>
                    <a:pt x="50" y="71"/>
                    <a:pt x="47" y="69"/>
                  </a:cubicBezTo>
                  <a:cubicBezTo>
                    <a:pt x="50" y="68"/>
                    <a:pt x="52" y="66"/>
                    <a:pt x="54" y="64"/>
                  </a:cubicBezTo>
                  <a:cubicBezTo>
                    <a:pt x="56" y="64"/>
                    <a:pt x="57" y="63"/>
                    <a:pt x="58" y="62"/>
                  </a:cubicBezTo>
                  <a:close/>
                  <a:moveTo>
                    <a:pt x="39" y="69"/>
                  </a:moveTo>
                  <a:cubicBezTo>
                    <a:pt x="36" y="71"/>
                    <a:pt x="33" y="72"/>
                    <a:pt x="30" y="73"/>
                  </a:cubicBezTo>
                  <a:cubicBezTo>
                    <a:pt x="29" y="69"/>
                    <a:pt x="28" y="66"/>
                    <a:pt x="28" y="62"/>
                  </a:cubicBezTo>
                  <a:cubicBezTo>
                    <a:pt x="29" y="63"/>
                    <a:pt x="30" y="64"/>
                    <a:pt x="32" y="64"/>
                  </a:cubicBezTo>
                  <a:cubicBezTo>
                    <a:pt x="34" y="66"/>
                    <a:pt x="36" y="68"/>
                    <a:pt x="39" y="69"/>
                  </a:cubicBezTo>
                  <a:close/>
                  <a:moveTo>
                    <a:pt x="23" y="53"/>
                  </a:moveTo>
                  <a:cubicBezTo>
                    <a:pt x="21" y="51"/>
                    <a:pt x="20" y="50"/>
                    <a:pt x="18" y="48"/>
                  </a:cubicBezTo>
                  <a:cubicBezTo>
                    <a:pt x="20" y="46"/>
                    <a:pt x="21" y="45"/>
                    <a:pt x="23" y="43"/>
                  </a:cubicBezTo>
                  <a:cubicBezTo>
                    <a:pt x="23" y="45"/>
                    <a:pt x="23" y="46"/>
                    <a:pt x="23" y="48"/>
                  </a:cubicBezTo>
                  <a:cubicBezTo>
                    <a:pt x="23" y="50"/>
                    <a:pt x="23" y="51"/>
                    <a:pt x="23" y="53"/>
                  </a:cubicBezTo>
                  <a:close/>
                  <a:moveTo>
                    <a:pt x="28" y="34"/>
                  </a:moveTo>
                  <a:cubicBezTo>
                    <a:pt x="28" y="30"/>
                    <a:pt x="29" y="27"/>
                    <a:pt x="30" y="23"/>
                  </a:cubicBezTo>
                  <a:cubicBezTo>
                    <a:pt x="33" y="24"/>
                    <a:pt x="36" y="25"/>
                    <a:pt x="39" y="27"/>
                  </a:cubicBezTo>
                  <a:cubicBezTo>
                    <a:pt x="36" y="28"/>
                    <a:pt x="34" y="30"/>
                    <a:pt x="32" y="32"/>
                  </a:cubicBezTo>
                  <a:cubicBezTo>
                    <a:pt x="30" y="32"/>
                    <a:pt x="29" y="33"/>
                    <a:pt x="28" y="34"/>
                  </a:cubicBezTo>
                  <a:close/>
                  <a:moveTo>
                    <a:pt x="47" y="27"/>
                  </a:moveTo>
                  <a:cubicBezTo>
                    <a:pt x="50" y="25"/>
                    <a:pt x="53" y="24"/>
                    <a:pt x="56" y="23"/>
                  </a:cubicBezTo>
                  <a:cubicBezTo>
                    <a:pt x="57" y="27"/>
                    <a:pt x="58" y="30"/>
                    <a:pt x="58" y="34"/>
                  </a:cubicBezTo>
                  <a:cubicBezTo>
                    <a:pt x="57" y="33"/>
                    <a:pt x="56" y="32"/>
                    <a:pt x="54" y="32"/>
                  </a:cubicBezTo>
                  <a:cubicBezTo>
                    <a:pt x="52" y="30"/>
                    <a:pt x="50" y="28"/>
                    <a:pt x="47" y="27"/>
                  </a:cubicBezTo>
                  <a:close/>
                  <a:moveTo>
                    <a:pt x="63" y="43"/>
                  </a:moveTo>
                  <a:cubicBezTo>
                    <a:pt x="65" y="45"/>
                    <a:pt x="66" y="46"/>
                    <a:pt x="68" y="48"/>
                  </a:cubicBezTo>
                  <a:cubicBezTo>
                    <a:pt x="66" y="50"/>
                    <a:pt x="65" y="51"/>
                    <a:pt x="63" y="53"/>
                  </a:cubicBezTo>
                  <a:cubicBezTo>
                    <a:pt x="63" y="51"/>
                    <a:pt x="63" y="50"/>
                    <a:pt x="63" y="48"/>
                  </a:cubicBezTo>
                  <a:cubicBezTo>
                    <a:pt x="63" y="46"/>
                    <a:pt x="63" y="45"/>
                    <a:pt x="63" y="43"/>
                  </a:cubicBezTo>
                  <a:close/>
                  <a:moveTo>
                    <a:pt x="43" y="4"/>
                  </a:moveTo>
                  <a:cubicBezTo>
                    <a:pt x="47" y="4"/>
                    <a:pt x="52" y="10"/>
                    <a:pt x="55" y="19"/>
                  </a:cubicBezTo>
                  <a:cubicBezTo>
                    <a:pt x="51" y="21"/>
                    <a:pt x="47" y="22"/>
                    <a:pt x="43" y="25"/>
                  </a:cubicBezTo>
                  <a:cubicBezTo>
                    <a:pt x="39" y="22"/>
                    <a:pt x="35" y="21"/>
                    <a:pt x="31" y="19"/>
                  </a:cubicBezTo>
                  <a:cubicBezTo>
                    <a:pt x="34" y="10"/>
                    <a:pt x="39" y="4"/>
                    <a:pt x="43" y="4"/>
                  </a:cubicBezTo>
                  <a:close/>
                  <a:moveTo>
                    <a:pt x="11" y="39"/>
                  </a:moveTo>
                  <a:cubicBezTo>
                    <a:pt x="6" y="32"/>
                    <a:pt x="5" y="26"/>
                    <a:pt x="7" y="23"/>
                  </a:cubicBezTo>
                  <a:cubicBezTo>
                    <a:pt x="9" y="20"/>
                    <a:pt x="16" y="19"/>
                    <a:pt x="26" y="22"/>
                  </a:cubicBezTo>
                  <a:cubicBezTo>
                    <a:pt x="25" y="27"/>
                    <a:pt x="24" y="32"/>
                    <a:pt x="23" y="38"/>
                  </a:cubicBezTo>
                  <a:cubicBezTo>
                    <a:pt x="21" y="40"/>
                    <a:pt x="18" y="43"/>
                    <a:pt x="15" y="45"/>
                  </a:cubicBezTo>
                  <a:cubicBezTo>
                    <a:pt x="14" y="43"/>
                    <a:pt x="12" y="41"/>
                    <a:pt x="11" y="39"/>
                  </a:cubicBezTo>
                  <a:close/>
                  <a:moveTo>
                    <a:pt x="7" y="73"/>
                  </a:moveTo>
                  <a:cubicBezTo>
                    <a:pt x="5" y="70"/>
                    <a:pt x="6" y="64"/>
                    <a:pt x="11" y="57"/>
                  </a:cubicBezTo>
                  <a:cubicBezTo>
                    <a:pt x="12" y="55"/>
                    <a:pt x="14" y="53"/>
                    <a:pt x="15" y="51"/>
                  </a:cubicBezTo>
                  <a:cubicBezTo>
                    <a:pt x="18" y="53"/>
                    <a:pt x="21" y="56"/>
                    <a:pt x="23" y="58"/>
                  </a:cubicBezTo>
                  <a:cubicBezTo>
                    <a:pt x="24" y="64"/>
                    <a:pt x="25" y="69"/>
                    <a:pt x="26" y="74"/>
                  </a:cubicBezTo>
                  <a:cubicBezTo>
                    <a:pt x="16" y="77"/>
                    <a:pt x="9" y="76"/>
                    <a:pt x="7" y="73"/>
                  </a:cubicBezTo>
                  <a:close/>
                  <a:moveTo>
                    <a:pt x="43" y="92"/>
                  </a:moveTo>
                  <a:cubicBezTo>
                    <a:pt x="39" y="92"/>
                    <a:pt x="34" y="86"/>
                    <a:pt x="31" y="77"/>
                  </a:cubicBezTo>
                  <a:cubicBezTo>
                    <a:pt x="35" y="75"/>
                    <a:pt x="39" y="74"/>
                    <a:pt x="43" y="71"/>
                  </a:cubicBezTo>
                  <a:cubicBezTo>
                    <a:pt x="47" y="74"/>
                    <a:pt x="51" y="75"/>
                    <a:pt x="55" y="77"/>
                  </a:cubicBezTo>
                  <a:cubicBezTo>
                    <a:pt x="52" y="86"/>
                    <a:pt x="47" y="92"/>
                    <a:pt x="43" y="92"/>
                  </a:cubicBezTo>
                  <a:close/>
                  <a:moveTo>
                    <a:pt x="79" y="73"/>
                  </a:moveTo>
                  <a:cubicBezTo>
                    <a:pt x="77" y="76"/>
                    <a:pt x="70" y="77"/>
                    <a:pt x="60" y="74"/>
                  </a:cubicBezTo>
                  <a:cubicBezTo>
                    <a:pt x="61" y="69"/>
                    <a:pt x="62" y="64"/>
                    <a:pt x="63" y="58"/>
                  </a:cubicBezTo>
                  <a:cubicBezTo>
                    <a:pt x="65" y="56"/>
                    <a:pt x="68" y="53"/>
                    <a:pt x="71" y="51"/>
                  </a:cubicBezTo>
                  <a:cubicBezTo>
                    <a:pt x="72" y="53"/>
                    <a:pt x="74" y="55"/>
                    <a:pt x="75" y="57"/>
                  </a:cubicBezTo>
                  <a:cubicBezTo>
                    <a:pt x="80" y="64"/>
                    <a:pt x="81" y="70"/>
                    <a:pt x="79" y="73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373737"/>
                </a:solidFill>
              </a:endParaRPr>
            </a:p>
          </p:txBody>
        </p:sp>
        <p:sp>
          <p:nvSpPr>
            <p:cNvPr id="221" name="Freeform 15">
              <a:extLst>
                <a:ext uri="{FF2B5EF4-FFF2-40B4-BE49-F238E27FC236}">
                  <a16:creationId xmlns:a16="http://schemas.microsoft.com/office/drawing/2014/main" id="{BA8FBC84-52F2-5A08-BE54-6473D8B6A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46508" y="1802929"/>
              <a:ext cx="50219" cy="50998"/>
            </a:xfrm>
            <a:custGeom>
              <a:avLst/>
              <a:gdLst>
                <a:gd name="T0" fmla="*/ 10 w 20"/>
                <a:gd name="T1" fmla="*/ 0 h 20"/>
                <a:gd name="T2" fmla="*/ 0 w 20"/>
                <a:gd name="T3" fmla="*/ 10 h 20"/>
                <a:gd name="T4" fmla="*/ 10 w 20"/>
                <a:gd name="T5" fmla="*/ 20 h 20"/>
                <a:gd name="T6" fmla="*/ 20 w 20"/>
                <a:gd name="T7" fmla="*/ 10 h 20"/>
                <a:gd name="T8" fmla="*/ 10 w 20"/>
                <a:gd name="T9" fmla="*/ 0 h 20"/>
                <a:gd name="T10" fmla="*/ 10 w 20"/>
                <a:gd name="T11" fmla="*/ 16 h 20"/>
                <a:gd name="T12" fmla="*/ 4 w 20"/>
                <a:gd name="T13" fmla="*/ 10 h 20"/>
                <a:gd name="T14" fmla="*/ 10 w 20"/>
                <a:gd name="T15" fmla="*/ 4 h 20"/>
                <a:gd name="T16" fmla="*/ 16 w 20"/>
                <a:gd name="T17" fmla="*/ 10 h 20"/>
                <a:gd name="T18" fmla="*/ 10 w 20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lose/>
                  <a:moveTo>
                    <a:pt x="10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373737"/>
                </a:solidFill>
              </a:endParaRPr>
            </a:p>
          </p:txBody>
        </p:sp>
      </p:grpSp>
      <p:grpSp>
        <p:nvGrpSpPr>
          <p:cNvPr id="223" name="Group 54">
            <a:extLst>
              <a:ext uri="{FF2B5EF4-FFF2-40B4-BE49-F238E27FC236}">
                <a16:creationId xmlns:a16="http://schemas.microsoft.com/office/drawing/2014/main" id="{581C97CC-363D-8052-A037-B6DEC1FFFA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89361" y="1702431"/>
            <a:ext cx="282064" cy="252002"/>
            <a:chOff x="6718" y="681"/>
            <a:chExt cx="441" cy="394"/>
          </a:xfrm>
          <a:solidFill>
            <a:schemeClr val="bg1"/>
          </a:solidFill>
        </p:grpSpPr>
        <p:sp>
          <p:nvSpPr>
            <p:cNvPr id="225" name="Freeform 55">
              <a:extLst>
                <a:ext uri="{FF2B5EF4-FFF2-40B4-BE49-F238E27FC236}">
                  <a16:creationId xmlns:a16="http://schemas.microsoft.com/office/drawing/2014/main" id="{F52869DF-7F58-101E-31A3-D0411AA5B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681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5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50" y="60"/>
                    <a:pt x="60" y="49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6" name="Freeform 56">
              <a:extLst>
                <a:ext uri="{FF2B5EF4-FFF2-40B4-BE49-F238E27FC236}">
                  <a16:creationId xmlns:a16="http://schemas.microsoft.com/office/drawing/2014/main" id="{D9522C0F-9FB8-170A-8C16-758599FCE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717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7" name="Freeform 57">
              <a:extLst>
                <a:ext uri="{FF2B5EF4-FFF2-40B4-BE49-F238E27FC236}">
                  <a16:creationId xmlns:a16="http://schemas.microsoft.com/office/drawing/2014/main" id="{D6A3A985-B27B-68FA-ECB9-7CC4F58A9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717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8" name="Freeform 58">
              <a:extLst>
                <a:ext uri="{FF2B5EF4-FFF2-40B4-BE49-F238E27FC236}">
                  <a16:creationId xmlns:a16="http://schemas.microsoft.com/office/drawing/2014/main" id="{77B5DD6B-809E-10CA-F97E-0A6C5373F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8" y="989"/>
              <a:ext cx="441" cy="86"/>
            </a:xfrm>
            <a:custGeom>
              <a:avLst/>
              <a:gdLst>
                <a:gd name="T0" fmla="*/ 144 w 288"/>
                <a:gd name="T1" fmla="*/ 58 h 58"/>
                <a:gd name="T2" fmla="*/ 0 w 288"/>
                <a:gd name="T3" fmla="*/ 28 h 58"/>
                <a:gd name="T4" fmla="*/ 83 w 288"/>
                <a:gd name="T5" fmla="*/ 0 h 58"/>
                <a:gd name="T6" fmla="*/ 90 w 288"/>
                <a:gd name="T7" fmla="*/ 6 h 58"/>
                <a:gd name="T8" fmla="*/ 84 w 288"/>
                <a:gd name="T9" fmla="*/ 12 h 58"/>
                <a:gd name="T10" fmla="*/ 13 w 288"/>
                <a:gd name="T11" fmla="*/ 28 h 58"/>
                <a:gd name="T12" fmla="*/ 144 w 288"/>
                <a:gd name="T13" fmla="*/ 46 h 58"/>
                <a:gd name="T14" fmla="*/ 276 w 288"/>
                <a:gd name="T15" fmla="*/ 28 h 58"/>
                <a:gd name="T16" fmla="*/ 204 w 288"/>
                <a:gd name="T17" fmla="*/ 12 h 58"/>
                <a:gd name="T18" fmla="*/ 198 w 288"/>
                <a:gd name="T19" fmla="*/ 6 h 58"/>
                <a:gd name="T20" fmla="*/ 205 w 288"/>
                <a:gd name="T21" fmla="*/ 0 h 58"/>
                <a:gd name="T22" fmla="*/ 288 w 288"/>
                <a:gd name="T23" fmla="*/ 28 h 58"/>
                <a:gd name="T24" fmla="*/ 144 w 288"/>
                <a:gd name="T25" fmla="*/ 58 h 58"/>
                <a:gd name="T26" fmla="*/ 277 w 288"/>
                <a:gd name="T27" fmla="*/ 28 h 58"/>
                <a:gd name="T28" fmla="*/ 277 w 288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8">
                  <a:moveTo>
                    <a:pt x="144" y="58"/>
                  </a:moveTo>
                  <a:cubicBezTo>
                    <a:pt x="130" y="58"/>
                    <a:pt x="0" y="57"/>
                    <a:pt x="0" y="28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90" y="2"/>
                    <a:pt x="90" y="6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8"/>
                  </a:cubicBezTo>
                  <a:cubicBezTo>
                    <a:pt x="19" y="34"/>
                    <a:pt x="65" y="46"/>
                    <a:pt x="144" y="46"/>
                  </a:cubicBezTo>
                  <a:cubicBezTo>
                    <a:pt x="223" y="46"/>
                    <a:pt x="270" y="34"/>
                    <a:pt x="276" y="28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1" y="12"/>
                    <a:pt x="198" y="9"/>
                    <a:pt x="198" y="6"/>
                  </a:cubicBezTo>
                  <a:cubicBezTo>
                    <a:pt x="199" y="2"/>
                    <a:pt x="202" y="0"/>
                    <a:pt x="205" y="0"/>
                  </a:cubicBezTo>
                  <a:cubicBezTo>
                    <a:pt x="260" y="5"/>
                    <a:pt x="288" y="14"/>
                    <a:pt x="288" y="28"/>
                  </a:cubicBezTo>
                  <a:cubicBezTo>
                    <a:pt x="288" y="57"/>
                    <a:pt x="159" y="58"/>
                    <a:pt x="144" y="58"/>
                  </a:cubicBezTo>
                  <a:close/>
                  <a:moveTo>
                    <a:pt x="277" y="28"/>
                  </a:moveTo>
                  <a:cubicBezTo>
                    <a:pt x="277" y="28"/>
                    <a:pt x="277" y="28"/>
                    <a:pt x="27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9" name="Freeform 59">
              <a:extLst>
                <a:ext uri="{FF2B5EF4-FFF2-40B4-BE49-F238E27FC236}">
                  <a16:creationId xmlns:a16="http://schemas.microsoft.com/office/drawing/2014/main" id="{C890EABD-0269-9468-C48A-403CC3320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806"/>
              <a:ext cx="110" cy="180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70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ubicBezTo>
                    <a:pt x="23" y="12"/>
                    <a:pt x="12" y="22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30" name="Freeform 60">
              <a:extLst>
                <a:ext uri="{FF2B5EF4-FFF2-40B4-BE49-F238E27FC236}">
                  <a16:creationId xmlns:a16="http://schemas.microsoft.com/office/drawing/2014/main" id="{D59C5876-7283-F345-2FF0-0332A84994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806"/>
              <a:ext cx="74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31" name="Freeform 61">
              <a:extLst>
                <a:ext uri="{FF2B5EF4-FFF2-40B4-BE49-F238E27FC236}">
                  <a16:creationId xmlns:a16="http://schemas.microsoft.com/office/drawing/2014/main" id="{B9B090DD-7548-15DE-4593-95F696931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806"/>
              <a:ext cx="73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</p:grpSp>
      <p:sp>
        <p:nvSpPr>
          <p:cNvPr id="235" name="Freeform 50">
            <a:extLst>
              <a:ext uri="{FF2B5EF4-FFF2-40B4-BE49-F238E27FC236}">
                <a16:creationId xmlns:a16="http://schemas.microsoft.com/office/drawing/2014/main" id="{C43FA4A4-5FFB-5F82-B789-84EBDE74480B}"/>
              </a:ext>
            </a:extLst>
          </p:cNvPr>
          <p:cNvSpPr>
            <a:spLocks noEditPoints="1"/>
          </p:cNvSpPr>
          <p:nvPr/>
        </p:nvSpPr>
        <p:spPr bwMode="auto">
          <a:xfrm>
            <a:off x="4773784" y="1702427"/>
            <a:ext cx="252593" cy="252000"/>
          </a:xfrm>
          <a:custGeom>
            <a:avLst/>
            <a:gdLst>
              <a:gd name="T0" fmla="*/ 144 w 288"/>
              <a:gd name="T1" fmla="*/ 288 h 288"/>
              <a:gd name="T2" fmla="*/ 0 w 288"/>
              <a:gd name="T3" fmla="*/ 144 h 288"/>
              <a:gd name="T4" fmla="*/ 144 w 288"/>
              <a:gd name="T5" fmla="*/ 0 h 288"/>
              <a:gd name="T6" fmla="*/ 288 w 288"/>
              <a:gd name="T7" fmla="*/ 144 h 288"/>
              <a:gd name="T8" fmla="*/ 144 w 288"/>
              <a:gd name="T9" fmla="*/ 288 h 288"/>
              <a:gd name="T10" fmla="*/ 144 w 288"/>
              <a:gd name="T11" fmla="*/ 12 h 288"/>
              <a:gd name="T12" fmla="*/ 12 w 288"/>
              <a:gd name="T13" fmla="*/ 144 h 288"/>
              <a:gd name="T14" fmla="*/ 144 w 288"/>
              <a:gd name="T15" fmla="*/ 276 h 288"/>
              <a:gd name="T16" fmla="*/ 276 w 288"/>
              <a:gd name="T17" fmla="*/ 144 h 288"/>
              <a:gd name="T18" fmla="*/ 144 w 288"/>
              <a:gd name="T19" fmla="*/ 12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8" h="288">
                <a:moveTo>
                  <a:pt x="144" y="288"/>
                </a:moveTo>
                <a:cubicBezTo>
                  <a:pt x="64" y="288"/>
                  <a:pt x="0" y="223"/>
                  <a:pt x="0" y="144"/>
                </a:cubicBezTo>
                <a:cubicBezTo>
                  <a:pt x="0" y="64"/>
                  <a:pt x="64" y="0"/>
                  <a:pt x="144" y="0"/>
                </a:cubicBezTo>
                <a:cubicBezTo>
                  <a:pt x="223" y="0"/>
                  <a:pt x="288" y="64"/>
                  <a:pt x="288" y="144"/>
                </a:cubicBezTo>
                <a:cubicBezTo>
                  <a:pt x="288" y="223"/>
                  <a:pt x="223" y="288"/>
                  <a:pt x="144" y="288"/>
                </a:cubicBezTo>
                <a:close/>
                <a:moveTo>
                  <a:pt x="144" y="12"/>
                </a:moveTo>
                <a:cubicBezTo>
                  <a:pt x="71" y="12"/>
                  <a:pt x="12" y="71"/>
                  <a:pt x="12" y="144"/>
                </a:cubicBezTo>
                <a:cubicBezTo>
                  <a:pt x="12" y="216"/>
                  <a:pt x="71" y="276"/>
                  <a:pt x="144" y="276"/>
                </a:cubicBezTo>
                <a:cubicBezTo>
                  <a:pt x="217" y="276"/>
                  <a:pt x="276" y="216"/>
                  <a:pt x="276" y="144"/>
                </a:cubicBezTo>
                <a:cubicBezTo>
                  <a:pt x="276" y="71"/>
                  <a:pt x="217" y="12"/>
                  <a:pt x="144" y="1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rgbClr val="373737"/>
              </a:solidFill>
            </a:endParaRPr>
          </a:p>
        </p:txBody>
      </p:sp>
      <p:sp>
        <p:nvSpPr>
          <p:cNvPr id="236" name="Freeform 51">
            <a:extLst>
              <a:ext uri="{FF2B5EF4-FFF2-40B4-BE49-F238E27FC236}">
                <a16:creationId xmlns:a16="http://schemas.microsoft.com/office/drawing/2014/main" id="{B106C518-A5E8-4803-A706-8403EF95C613}"/>
              </a:ext>
            </a:extLst>
          </p:cNvPr>
          <p:cNvSpPr>
            <a:spLocks/>
          </p:cNvSpPr>
          <p:nvPr/>
        </p:nvSpPr>
        <p:spPr bwMode="auto">
          <a:xfrm>
            <a:off x="4889728" y="1765131"/>
            <a:ext cx="74536" cy="126592"/>
          </a:xfrm>
          <a:custGeom>
            <a:avLst/>
            <a:gdLst>
              <a:gd name="T0" fmla="*/ 78 w 85"/>
              <a:gd name="T1" fmla="*/ 144 h 144"/>
              <a:gd name="T2" fmla="*/ 74 w 85"/>
              <a:gd name="T3" fmla="*/ 142 h 144"/>
              <a:gd name="T4" fmla="*/ 2 w 85"/>
              <a:gd name="T5" fmla="*/ 76 h 144"/>
              <a:gd name="T6" fmla="*/ 0 w 85"/>
              <a:gd name="T7" fmla="*/ 72 h 144"/>
              <a:gd name="T8" fmla="*/ 0 w 85"/>
              <a:gd name="T9" fmla="*/ 6 h 144"/>
              <a:gd name="T10" fmla="*/ 6 w 85"/>
              <a:gd name="T11" fmla="*/ 0 h 144"/>
              <a:gd name="T12" fmla="*/ 12 w 85"/>
              <a:gd name="T13" fmla="*/ 6 h 144"/>
              <a:gd name="T14" fmla="*/ 12 w 85"/>
              <a:gd name="T15" fmla="*/ 69 h 144"/>
              <a:gd name="T16" fmla="*/ 82 w 85"/>
              <a:gd name="T17" fmla="*/ 133 h 144"/>
              <a:gd name="T18" fmla="*/ 82 w 85"/>
              <a:gd name="T19" fmla="*/ 142 h 144"/>
              <a:gd name="T20" fmla="*/ 78 w 85"/>
              <a:gd name="T21" fmla="*/ 14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5" h="144">
                <a:moveTo>
                  <a:pt x="78" y="144"/>
                </a:moveTo>
                <a:cubicBezTo>
                  <a:pt x="76" y="144"/>
                  <a:pt x="75" y="143"/>
                  <a:pt x="74" y="142"/>
                </a:cubicBezTo>
                <a:cubicBezTo>
                  <a:pt x="2" y="76"/>
                  <a:pt x="2" y="76"/>
                  <a:pt x="2" y="76"/>
                </a:cubicBezTo>
                <a:cubicBezTo>
                  <a:pt x="1" y="75"/>
                  <a:pt x="0" y="73"/>
                  <a:pt x="0" y="72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9" y="0"/>
                  <a:pt x="12" y="2"/>
                  <a:pt x="12" y="6"/>
                </a:cubicBezTo>
                <a:cubicBezTo>
                  <a:pt x="12" y="69"/>
                  <a:pt x="12" y="69"/>
                  <a:pt x="12" y="69"/>
                </a:cubicBezTo>
                <a:cubicBezTo>
                  <a:pt x="82" y="133"/>
                  <a:pt x="82" y="133"/>
                  <a:pt x="82" y="133"/>
                </a:cubicBezTo>
                <a:cubicBezTo>
                  <a:pt x="84" y="135"/>
                  <a:pt x="85" y="139"/>
                  <a:pt x="82" y="142"/>
                </a:cubicBezTo>
                <a:cubicBezTo>
                  <a:pt x="81" y="143"/>
                  <a:pt x="79" y="144"/>
                  <a:pt x="78" y="14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rgbClr val="373737"/>
              </a:solidFill>
            </a:endParaRPr>
          </a:p>
        </p:txBody>
      </p:sp>
      <p:cxnSp>
        <p:nvCxnSpPr>
          <p:cNvPr id="248" name="Straight Connector 22">
            <a:extLst>
              <a:ext uri="{FF2B5EF4-FFF2-40B4-BE49-F238E27FC236}">
                <a16:creationId xmlns:a16="http://schemas.microsoft.com/office/drawing/2014/main" id="{7CC30D84-1E3D-EC2D-33DE-511DE8F23B15}"/>
              </a:ext>
            </a:extLst>
          </p:cNvPr>
          <p:cNvCxnSpPr/>
          <p:nvPr/>
        </p:nvCxnSpPr>
        <p:spPr>
          <a:xfrm>
            <a:off x="9115839" y="1672855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3">
            <a:extLst>
              <a:ext uri="{FF2B5EF4-FFF2-40B4-BE49-F238E27FC236}">
                <a16:creationId xmlns:a16="http://schemas.microsoft.com/office/drawing/2014/main" id="{9AA65630-B3E2-B9F4-55AA-72DB2A953044}"/>
              </a:ext>
            </a:extLst>
          </p:cNvPr>
          <p:cNvCxnSpPr/>
          <p:nvPr/>
        </p:nvCxnSpPr>
        <p:spPr>
          <a:xfrm>
            <a:off x="6706032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">
            <a:extLst>
              <a:ext uri="{FF2B5EF4-FFF2-40B4-BE49-F238E27FC236}">
                <a16:creationId xmlns:a16="http://schemas.microsoft.com/office/drawing/2014/main" id="{31961AFE-E1BF-BC7B-25B3-2180D6138CB0}"/>
              </a:ext>
            </a:extLst>
          </p:cNvPr>
          <p:cNvCxnSpPr/>
          <p:nvPr/>
        </p:nvCxnSpPr>
        <p:spPr>
          <a:xfrm>
            <a:off x="4586048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8702168-7311-060B-0D3A-25A9452FB674}"/>
              </a:ext>
            </a:extLst>
          </p:cNvPr>
          <p:cNvGrpSpPr/>
          <p:nvPr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F39201A7-8696-AD95-0E3B-EBED06C9F14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46A704E6-B221-9DB5-C484-794E974F4FD3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8C9A13A4-9489-DBCC-974E-D82FE439352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45D8400D-1ECD-B52B-0835-C2201BBCAE71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2A5F1A36-1861-7F1D-AAE4-F4E02ACEA2E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47958642-9C3E-5C76-7A92-FAB0E72423F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9215827F-8521-46BD-B127-F95C1F3E8AC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FA0404F2-F9A4-815F-04D6-40FA937CFD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1471857"/>
            <a:ext cx="950014" cy="685756"/>
          </a:xfrm>
          <a:solidFill>
            <a:schemeClr val="accent1"/>
          </a:solidFill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 cap="all" spc="4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897E55EE-C6A9-29B9-8072-9939ABCC44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spcAft>
                <a:spcPts val="1200"/>
              </a:spcAft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42A6E3A-D34D-3BE7-A506-973E0525F242}"/>
              </a:ext>
            </a:extLst>
          </p:cNvPr>
          <p:cNvSpPr txBox="1"/>
          <p:nvPr userDrawn="1"/>
        </p:nvSpPr>
        <p:spPr>
          <a:xfrm>
            <a:off x="1088884" y="1718680"/>
            <a:ext cx="1004762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itchFamily="2" charset="2"/>
              <a:buNone/>
            </a:pPr>
            <a:r>
              <a:rPr lang="de-DE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FACTS</a:t>
            </a:r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423A66BD-6439-CDA6-3E86-DB163A39D8F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8799" y="2964921"/>
            <a:ext cx="5090718" cy="3173077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 hinzufügen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E3FF890F-090B-1456-C435-D051CBD43C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88475" y="2964921"/>
            <a:ext cx="2698875" cy="3173077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BE2D5199-3F04-A03C-AADD-53DD710A2C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07432" y="2964921"/>
            <a:ext cx="2465673" cy="3173077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14200731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D7B7420-294A-406D-9108-BCCEDB297980}" type="datetime1">
              <a:rPr lang="de-DE" smtClean="0"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8097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D738D54-2468-45C0-8E4D-B1380ED39EBF}" type="datetime1">
              <a:rPr lang="de-DE" smtClean="0"/>
              <a:t>03.06.25</a:t>
            </a:fld>
            <a:endParaRPr lang="en-DE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68187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">
    <p:bg>
      <p:bgPr>
        <a:solidFill>
          <a:srgbClr val="FF4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TTENTION…">
            <a:extLst>
              <a:ext uri="{FF2B5EF4-FFF2-40B4-BE49-F238E27FC236}">
                <a16:creationId xmlns:a16="http://schemas.microsoft.com/office/drawing/2014/main" id="{C32A0A91-C761-BAF3-B496-78F4F984A827}"/>
              </a:ext>
            </a:extLst>
          </p:cNvPr>
          <p:cNvSpPr/>
          <p:nvPr userDrawn="1"/>
        </p:nvSpPr>
        <p:spPr>
          <a:xfrm>
            <a:off x="217068" y="184150"/>
            <a:ext cx="11757864" cy="648970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0" tIns="0" rIns="0" bIns="0" anchor="ctr">
            <a:normAutofit/>
          </a:bodyPr>
          <a:lstStyle/>
          <a:p>
            <a:pPr algn="ctr" defTabSz="547687" hangingPunct="0">
              <a:defRPr sz="120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7200" b="1" kern="0">
                <a:solidFill>
                  <a:srgbClr val="000000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TTENTION</a:t>
            </a: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— This is not a template —</a:t>
            </a:r>
          </a:p>
          <a:p>
            <a:pPr algn="ctr" defTabSz="547687" hangingPunct="0">
              <a:defRPr sz="6400" spc="0">
                <a:solidFill>
                  <a:srgbClr val="FF2952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sz="4000" b="1" kern="0">
              <a:solidFill>
                <a:srgbClr val="FF2952"/>
              </a:solidFill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ll following pages were created by </a:t>
            </a:r>
            <a:b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</a:b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old or other presentations. </a:t>
            </a: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sz="2800" b="1" kern="0" spc="192">
              <a:solidFill>
                <a:srgbClr val="FFFFFF"/>
              </a:solidFill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algn="ctr" defTabSz="547687" hangingPunct="0">
              <a:defRPr sz="48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>
                <a:solidFill>
                  <a:srgbClr val="000000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Please delete or replace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484A140-8E94-51FE-45BC-1311D8EE465A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271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7F9EDD32-5647-4EDD-8390-4C4B5508E2F8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53EBCC7-D49E-CF5B-7983-B918419672C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9E11270-79DA-3761-D876-69CC2F89CD5C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D3F7CB51-EEFA-438A-A9E9-5F73FDF9020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6C8DA99A-8D6E-7E8E-27A2-41FFA1A1BF9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FB636F4-A352-4C20-DA0E-584BCAF6731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1">
              <a:extLst>
                <a:ext uri="{FF2B5EF4-FFF2-40B4-BE49-F238E27FC236}">
                  <a16:creationId xmlns:a16="http://schemas.microsoft.com/office/drawing/2014/main" id="{48DDF318-3F42-2174-5CAF-91B9E3157BC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2">
              <a:extLst>
                <a:ext uri="{FF2B5EF4-FFF2-40B4-BE49-F238E27FC236}">
                  <a16:creationId xmlns:a16="http://schemas.microsoft.com/office/drawing/2014/main" id="{83B238C2-09B0-E21D-4051-F4E49A49277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13">
              <a:extLst>
                <a:ext uri="{FF2B5EF4-FFF2-40B4-BE49-F238E27FC236}">
                  <a16:creationId xmlns:a16="http://schemas.microsoft.com/office/drawing/2014/main" id="{DB2D8701-18E2-6584-A18E-D0BA0E5BB84A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10912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B25F8197-336F-4C4F-83AD-113D74695511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CB2DBA07-3B9B-2FAF-C7B2-FA710A08114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79968"/>
            <a:ext cx="11221200" cy="45267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41EAB3F-BDF6-5597-E9CB-DAEDA4510C2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3" name="Freihandform: Form 7">
              <a:extLst>
                <a:ext uri="{FF2B5EF4-FFF2-40B4-BE49-F238E27FC236}">
                  <a16:creationId xmlns:a16="http://schemas.microsoft.com/office/drawing/2014/main" id="{57094DDD-022E-0A87-9652-1E57BDC118C9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8">
              <a:extLst>
                <a:ext uri="{FF2B5EF4-FFF2-40B4-BE49-F238E27FC236}">
                  <a16:creationId xmlns:a16="http://schemas.microsoft.com/office/drawing/2014/main" id="{984A148D-CB14-D8B7-7DEF-A785B8C175F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ihandform: Form 9">
              <a:extLst>
                <a:ext uri="{FF2B5EF4-FFF2-40B4-BE49-F238E27FC236}">
                  <a16:creationId xmlns:a16="http://schemas.microsoft.com/office/drawing/2014/main" id="{68AB6183-B92B-D86A-9C03-7B52650C44E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36F2F035-B980-FC50-4DBA-A06C7F4DC73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F09A5E26-B7A3-585B-F75A-CA6024868C7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25CAADEA-0B27-76F3-C0A3-0613E56D9DF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A52907D7-C45B-5918-F2EB-2A55A8464A4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02324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560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09417FB9-A031-4A45-BE90-4178FCEA17DA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6CADF68B-C6C5-A86F-B33F-32C0376AB3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79968"/>
            <a:ext cx="5376672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C9D27699-89A2-4F50-073D-9891356402B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35902" y="1679968"/>
            <a:ext cx="5376672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729F79FE-43F1-DFD4-0EE9-0823F97A669A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id="{A7671B2E-B8B1-4AB0-A680-B0442FB8D8AE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id="{6B642D1E-8E27-83F4-A2D9-F4CCEDF8BDA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id="{A7678841-CC53-62A8-2A42-ACCAB785B21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id="{0455CFDB-9FE6-CF9B-55C4-BA07DE0A516B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A8037616-A41F-3727-D546-4E5F8D90794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5BAE780A-C4E5-4AE5-F641-7A32B6751D4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2C870CC6-EB11-8350-4E58-93A8D3750CB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2138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BF2E58D-D925-99EF-EDE1-9AF3599AFD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9873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F2E58D-D925-99EF-EDE1-9AF3599AFD5C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2FD0F1-5F73-445E-95B2-8B11C0580E21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1-2 zeilige Kernaussag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66627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D1425BCB-5395-4C07-A396-6B88D53FC925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B709CA62-8148-68CE-D276-92AFECC5232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79968"/>
            <a:ext cx="3429000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218D67EF-496D-9074-B88B-0C2253AC868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81498" y="1679968"/>
            <a:ext cx="3429000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DDB1FE69-ADAB-8504-D415-5DF1C3E5D87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283574" y="1679968"/>
            <a:ext cx="3429000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1536CD4-C4F4-AB66-BA00-4A8CAC44AF5A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id="{8771A5EE-2B90-2F0A-9C75-CF7FFBE87299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id="{5BF2CFA1-EC63-739F-FE7E-7E5BAF4EE1F3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id="{EDBC9732-3484-51D8-32B1-ABE9B122318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id="{55516966-C7B5-DDFB-4B7E-CB05C35548E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CC7B0D16-DAE6-0F38-AF7F-9D8DD5D0A49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C7F7F4D5-126F-C7DA-ED45-375A6283D82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06517D69-0B08-FA58-B714-1E4C84BEB5B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96309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9BA44A78-97A0-48C3-A2EF-28BC836EB8C2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24">
            <a:extLst>
              <a:ext uri="{FF2B5EF4-FFF2-40B4-BE49-F238E27FC236}">
                <a16:creationId xmlns:a16="http://schemas.microsoft.com/office/drawing/2014/main" id="{58617E68-E0C0-F3F9-B990-472389F432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79968"/>
            <a:ext cx="5376672" cy="2057400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B164CBDE-1B0E-B5CA-FB31-FACF4743EB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9424" y="4130560"/>
            <a:ext cx="5376672" cy="2057400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6437300F-ACA4-E316-44E7-09759419D0F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35902" y="1679968"/>
            <a:ext cx="5376672" cy="2057400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A28677B3-CF89-B91B-8593-1034C108346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35902" y="4130560"/>
            <a:ext cx="5376672" cy="2057400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95CB8A3-81D1-42FB-9D4E-539307BB17E8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id="{27B896AB-2E49-C174-E424-1AB87FC5779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id="{5E67B4F8-7DAD-B9AB-26C4-C319611D38E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id="{0DA4446D-758B-3A05-9A42-66AC059E0C02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id="{D7590CC9-C5FA-E6BC-8FDE-A661AE0C2EA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E452CFF0-7348-76F2-CEE0-EE03A30972B5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5BD82074-7E9A-F319-20E6-A9B3118250C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B5B7775C-FDED-E747-B191-0070344D4A0B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54715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7A378B61-CF53-4F8E-A4B5-351BF60CE3FB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95F00ED3-E6AE-4280-B629-A040103F67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6FAFE4DB-B6C1-6300-5F3E-95EE02FA59C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9424" y="1775816"/>
            <a:ext cx="2560320" cy="4507992"/>
          </a:xfrm>
          <a:solidFill>
            <a:srgbClr val="D0D0D0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BC4A6A75-EA5C-B47B-B684-37B676AB37D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4" name="Freihandform: Form 7">
              <a:extLst>
                <a:ext uri="{FF2B5EF4-FFF2-40B4-BE49-F238E27FC236}">
                  <a16:creationId xmlns:a16="http://schemas.microsoft.com/office/drawing/2014/main" id="{EB59F19C-39A6-A74E-E398-49BE2BE33BA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D8F23DC7-7C3A-3A54-B947-4E345D3C3DD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E1A74535-3DD5-4A16-24B9-5FBE895E750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0">
              <a:extLst>
                <a:ext uri="{FF2B5EF4-FFF2-40B4-BE49-F238E27FC236}">
                  <a16:creationId xmlns:a16="http://schemas.microsoft.com/office/drawing/2014/main" id="{120B4D6B-9B99-EBBE-3D6F-7CDF48CAD0A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86079262-F3E7-A834-2D94-E8C25226F13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ihandform: Form 12">
              <a:extLst>
                <a:ext uri="{FF2B5EF4-FFF2-40B4-BE49-F238E27FC236}">
                  <a16:creationId xmlns:a16="http://schemas.microsoft.com/office/drawing/2014/main" id="{2F7C14C3-C8CE-9CFE-19C3-4D4205986B4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ihandform: Form 13">
              <a:extLst>
                <a:ext uri="{FF2B5EF4-FFF2-40B4-BE49-F238E27FC236}">
                  <a16:creationId xmlns:a16="http://schemas.microsoft.com/office/drawing/2014/main" id="{8C210278-B537-DF64-3891-357BCDF9381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64937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257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C3612981-3B34-49D8-9B79-8429EAFEF253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95F00ED3-E6AE-4280-B629-A040103F67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6FAFE4DB-B6C1-6300-5F3E-95EE02FA59C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152255" y="1775816"/>
            <a:ext cx="2560320" cy="4507992"/>
          </a:xfrm>
          <a:solidFill>
            <a:srgbClr val="D0D0D0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796BED0B-472C-99C1-1AB3-4C4C9C3DF13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BA902390-508F-046B-CFD6-BB8BC1F0E915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4601BFFC-48D1-49CC-85A0-4F71018FFE5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BE28F0F4-3BE6-617F-8065-8F461725A62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EC359538-3117-42C0-F067-D381C74CD85A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2763426F-C1C9-78B4-F66C-5292B366ADA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30208125-50E6-B6B1-A335-8B402CFA18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9820153F-A233-37F6-D40C-BECEA997D63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04189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760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87825" y="2806333"/>
            <a:ext cx="7512175" cy="1231106"/>
          </a:xfrm>
        </p:spPr>
        <p:txBody>
          <a:bodyPr vert="horz" lIns="0" tIns="0" rIns="0" bIns="0" anchor="ctr">
            <a:noAutofit/>
          </a:bodyPr>
          <a:lstStyle>
            <a:lvl1pPr algn="l">
              <a:defRPr sz="4000" b="1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title</a:t>
            </a:r>
            <a:br>
              <a:rPr lang="de-DE"/>
            </a:br>
            <a:r>
              <a:rPr lang="de-DE"/>
              <a:t>3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Bold</a:t>
            </a:r>
            <a:r>
              <a:rPr lang="de-DE"/>
              <a:t>, </a:t>
            </a:r>
            <a:r>
              <a:rPr lang="de-DE" err="1"/>
              <a:t>caps</a:t>
            </a:r>
            <a:r>
              <a:rPr lang="de-DE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30338" y="4880310"/>
            <a:ext cx="1026966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, 18 </a:t>
            </a:r>
            <a:r>
              <a:rPr lang="de-DE" err="1"/>
              <a:t>pt</a:t>
            </a:r>
            <a:r>
              <a:rPr lang="de-DE"/>
              <a:t>. Regular</a:t>
            </a:r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E4EC95D9-56E1-1A8F-CC61-F509EEC884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9C85CE8D-8D1C-4EE4-AAB9-16C9CB06F193}" type="datetime1">
              <a:rPr lang="de-DE" smtClean="0"/>
              <a:t>03.06.25</a:t>
            </a:fld>
            <a:endParaRPr lang="de-DE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64DC44C-6FA3-3C98-5FC0-B15D6CBF4B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BA027B25-564E-404D-0F16-420BA85757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cxnSp>
        <p:nvCxnSpPr>
          <p:cNvPr id="12" name="Gerade Verbindung 17">
            <a:extLst>
              <a:ext uri="{FF2B5EF4-FFF2-40B4-BE49-F238E27FC236}">
                <a16:creationId xmlns:a16="http://schemas.microsoft.com/office/drawing/2014/main" id="{3F6094A7-EDF1-7435-5A87-CDC6261E8B8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3">
            <a:extLst>
              <a:ext uri="{FF2B5EF4-FFF2-40B4-BE49-F238E27FC236}">
                <a16:creationId xmlns:a16="http://schemas.microsoft.com/office/drawing/2014/main" id="{6970292C-2364-33E9-1A88-6A6FD1831096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8FC05EDE-8FA4-72F9-8BCC-D9CE3CE3B3D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DB0CBBC9-E56B-D41C-035B-E508ED0A27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DC513A36-AFE4-F2AB-6BA4-01750A597BF5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">
            <a:extLst>
              <a:ext uri="{FF2B5EF4-FFF2-40B4-BE49-F238E27FC236}">
                <a16:creationId xmlns:a16="http://schemas.microsoft.com/office/drawing/2014/main" id="{35B385EC-90EF-885D-628C-903C4EA422C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86642104-B099-D223-43ED-CE7875DEFB2D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DB1B38B-3AA4-9603-4051-8E5220A1AF0D}"/>
              </a:ext>
            </a:extLst>
          </p:cNvPr>
          <p:cNvSpPr/>
          <p:nvPr userDrawn="1"/>
        </p:nvSpPr>
        <p:spPr>
          <a:xfrm>
            <a:off x="1430337" y="2528999"/>
            <a:ext cx="2493635" cy="17999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456AE79F-743F-2B50-BAB8-EC3396F6A42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38" name="Freihandform: Form 7">
              <a:extLst>
                <a:ext uri="{FF2B5EF4-FFF2-40B4-BE49-F238E27FC236}">
                  <a16:creationId xmlns:a16="http://schemas.microsoft.com/office/drawing/2014/main" id="{7832E088-761E-5ECE-9753-5D2C551AFDD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ihandform: Form 8">
              <a:extLst>
                <a:ext uri="{FF2B5EF4-FFF2-40B4-BE49-F238E27FC236}">
                  <a16:creationId xmlns:a16="http://schemas.microsoft.com/office/drawing/2014/main" id="{D1417726-77CF-DB4F-3C67-2B3FB3AA9AA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ihandform: Form 9">
              <a:extLst>
                <a:ext uri="{FF2B5EF4-FFF2-40B4-BE49-F238E27FC236}">
                  <a16:creationId xmlns:a16="http://schemas.microsoft.com/office/drawing/2014/main" id="{A42F4B5F-837F-5B52-2D81-6D23792A0DE1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ihandform: Form 10">
              <a:extLst>
                <a:ext uri="{FF2B5EF4-FFF2-40B4-BE49-F238E27FC236}">
                  <a16:creationId xmlns:a16="http://schemas.microsoft.com/office/drawing/2014/main" id="{4B3B6F2A-506C-4C4F-F294-480B0E6E0564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ihandform: Form 11">
              <a:extLst>
                <a:ext uri="{FF2B5EF4-FFF2-40B4-BE49-F238E27FC236}">
                  <a16:creationId xmlns:a16="http://schemas.microsoft.com/office/drawing/2014/main" id="{385FDB77-34B4-0F06-D9BF-7B0622A76479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ihandform: Form 12">
              <a:extLst>
                <a:ext uri="{FF2B5EF4-FFF2-40B4-BE49-F238E27FC236}">
                  <a16:creationId xmlns:a16="http://schemas.microsoft.com/office/drawing/2014/main" id="{09428F95-EAA9-B5B0-5046-8CD06655150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ihandform: Form 13">
              <a:extLst>
                <a:ext uri="{FF2B5EF4-FFF2-40B4-BE49-F238E27FC236}">
                  <a16:creationId xmlns:a16="http://schemas.microsoft.com/office/drawing/2014/main" id="{B9AC0BE7-89DF-3FE0-08E8-9C48FF6A852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97838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1253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>
                <a:solidFill>
                  <a:schemeClr val="accent1"/>
                </a:solidFill>
              </a:rPr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wrap="none" lIns="0" tIns="0" rIns="0" bIns="0" anchor="b" anchorCtr="0">
            <a:spAutoFit/>
          </a:bodyPr>
          <a:lstStyle>
            <a:lvl1pPr algn="l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 +49 XXXX XXX XX </a:t>
            </a:r>
            <a:r>
              <a:rPr lang="de-DE" err="1"/>
              <a:t>XX</a:t>
            </a:r>
            <a:br>
              <a:rPr lang="de-DE"/>
            </a:br>
            <a:r>
              <a:rPr lang="de-DE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de-DE" sz="1400" err="1">
                <a:solidFill>
                  <a:schemeClr val="tx1"/>
                </a:solidFill>
              </a:rPr>
              <a:t>www.senacor.com</a:t>
            </a: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 +49 XXXX XXX XX </a:t>
            </a:r>
            <a:r>
              <a:rPr lang="de-DE" err="1"/>
              <a:t>XX</a:t>
            </a:r>
            <a:br>
              <a:rPr lang="de-DE"/>
            </a:br>
            <a:r>
              <a:rPr lang="de-DE"/>
              <a:t>vorname.nachname@senacor.com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906CD084-DDEE-7593-4A35-7C69D84202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/>
          <a:p>
            <a:fld id="{7FEA509A-E0FB-4F7E-90A5-27E614D3579F}" type="datetime1">
              <a:rPr lang="de-DE" smtClean="0"/>
              <a:t>03.06.25</a:t>
            </a:fld>
            <a:endParaRPr lang="de-DE"/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EB77D577-C22F-5CA0-6848-812F840F22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D3D4E163-3C86-F095-C0BE-6BB2D56DA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4CA81DB-105D-76FA-9A36-342093667FF8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4D7D19FB-F22E-65AF-5AC4-D8025BA4C58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25" name="Freihandform: Form 7">
              <a:extLst>
                <a:ext uri="{FF2B5EF4-FFF2-40B4-BE49-F238E27FC236}">
                  <a16:creationId xmlns:a16="http://schemas.microsoft.com/office/drawing/2014/main" id="{39B6766E-624F-F037-D5AE-BBCEAD2A0C7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ihandform: Form 8">
              <a:extLst>
                <a:ext uri="{FF2B5EF4-FFF2-40B4-BE49-F238E27FC236}">
                  <a16:creationId xmlns:a16="http://schemas.microsoft.com/office/drawing/2014/main" id="{0FDE5C51-759D-7337-3E20-01EC1752347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ihandform: Form 9">
              <a:extLst>
                <a:ext uri="{FF2B5EF4-FFF2-40B4-BE49-F238E27FC236}">
                  <a16:creationId xmlns:a16="http://schemas.microsoft.com/office/drawing/2014/main" id="{79275C21-82CA-EB4D-1A81-849DB00B5A83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ihandform: Form 10">
              <a:extLst>
                <a:ext uri="{FF2B5EF4-FFF2-40B4-BE49-F238E27FC236}">
                  <a16:creationId xmlns:a16="http://schemas.microsoft.com/office/drawing/2014/main" id="{1EB62228-8BB3-CFB7-9635-301B591D7AFB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ihandform: Form 11">
              <a:extLst>
                <a:ext uri="{FF2B5EF4-FFF2-40B4-BE49-F238E27FC236}">
                  <a16:creationId xmlns:a16="http://schemas.microsoft.com/office/drawing/2014/main" id="{FF6E0B6D-73E5-FD25-1C98-E1EB15BFE6F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ihandform: Form 12">
              <a:extLst>
                <a:ext uri="{FF2B5EF4-FFF2-40B4-BE49-F238E27FC236}">
                  <a16:creationId xmlns:a16="http://schemas.microsoft.com/office/drawing/2014/main" id="{D658FCF9-0D43-4995-76CD-D628F947880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BFDB3C4E-55EE-98C5-5E1C-374D1486B53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70691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icture Color">
    <p:bg>
      <p:bgPr>
        <a:solidFill>
          <a:srgbClr val="3737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F1D00F2-5A27-D2D5-9A1E-969E40F7DF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18086"/>
            <a:ext cx="11233149" cy="19408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30F8B86-4730-D72D-10A3-7F0D936B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64125"/>
            <a:ext cx="11233149" cy="492443"/>
          </a:xfrm>
        </p:spPr>
        <p:txBody>
          <a:bodyPr/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3307714-6AE3-C649-A88C-B1E0A00E7E91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5CD0350E-1B4B-93C5-4042-6D7DD1480FD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7" name="Freihandform: Form 8">
              <a:extLst>
                <a:ext uri="{FF2B5EF4-FFF2-40B4-BE49-F238E27FC236}">
                  <a16:creationId xmlns:a16="http://schemas.microsoft.com/office/drawing/2014/main" id="{572C2126-4CA4-8173-7328-15F408CFAA6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8" name="Freihandform: Form 9">
              <a:extLst>
                <a:ext uri="{FF2B5EF4-FFF2-40B4-BE49-F238E27FC236}">
                  <a16:creationId xmlns:a16="http://schemas.microsoft.com/office/drawing/2014/main" id="{6BF00576-4CC5-D53B-E741-361ECBFE81C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F4B419BC-DDB3-61FE-AF01-6B26F9531D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A640000B-04B7-F422-4771-FF1C595C752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6A18C08D-4905-EB9A-3B0B-2BFEE313EE8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19F995E3-9E0F-CB57-7890-33D13EEA470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EDC74C0D-885E-0C0E-9367-33940CC187E3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854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Pictur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 descr="Ein Bild, das Schwarzweiß, monochrom, monochrome Fotografie, Schild enthält.&#10;&#10;Automatisch generierte Beschreibung">
            <a:extLst>
              <a:ext uri="{FF2B5EF4-FFF2-40B4-BE49-F238E27FC236}">
                <a16:creationId xmlns:a16="http://schemas.microsoft.com/office/drawing/2014/main" id="{B9DC2D06-93DD-AA25-5FEF-821B28CF887B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18086"/>
            <a:ext cx="11233149" cy="19408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30F8B86-4730-D72D-10A3-7F0D936B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64125"/>
            <a:ext cx="11233149" cy="492443"/>
          </a:xfrm>
        </p:spPr>
        <p:txBody>
          <a:bodyPr/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3307714-6AE3-C649-A88C-B1E0A00E7E91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5CD0350E-1B4B-93C5-4042-6D7DD1480FD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7" name="Freihandform: Form 8">
              <a:extLst>
                <a:ext uri="{FF2B5EF4-FFF2-40B4-BE49-F238E27FC236}">
                  <a16:creationId xmlns:a16="http://schemas.microsoft.com/office/drawing/2014/main" id="{572C2126-4CA4-8173-7328-15F408CFAA6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8" name="Freihandform: Form 9">
              <a:extLst>
                <a:ext uri="{FF2B5EF4-FFF2-40B4-BE49-F238E27FC236}">
                  <a16:creationId xmlns:a16="http://schemas.microsoft.com/office/drawing/2014/main" id="{6BF00576-4CC5-D53B-E741-361ECBFE81C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F4B419BC-DDB3-61FE-AF01-6B26F9531D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A640000B-04B7-F422-4771-FF1C595C752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6A18C08D-4905-EB9A-3B0B-2BFEE313EE8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19F995E3-9E0F-CB57-7890-33D13EEA470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922735A1-72B0-CD62-818B-9016B4DF2F3E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324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0B8900-357E-4B46-BB0D-17FB605BB391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19999"/>
            <a:ext cx="11232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45C90B7-C435-958D-5939-1621816DA79E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59126230-BBA2-582C-5D7E-6C71520E1B9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" name="Freihandform: Form 8">
              <a:extLst>
                <a:ext uri="{FF2B5EF4-FFF2-40B4-BE49-F238E27FC236}">
                  <a16:creationId xmlns:a16="http://schemas.microsoft.com/office/drawing/2014/main" id="{6886AB1A-EDE6-5C69-0957-E6AAF917939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0070310C-4800-0871-5313-17DD8FCAD5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4A164321-7134-5A41-E758-17C2D52C5F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4871BC85-C821-797C-8CA5-73EEB6A5052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D4365D0C-2EF0-8540-FE93-CBA3A1CCBCC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96509F43-5CBD-2C95-C86C-66638B700336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FD065DCD-EBF5-1172-3002-2567A9DCC123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4482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DBBE83-5677-48DC-981C-D1613BB76940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19999"/>
            <a:ext cx="11232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45C90B7-C435-958D-5939-1621816DA79E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59126230-BBA2-582C-5D7E-6C71520E1B9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" name="Freihandform: Form 8">
              <a:extLst>
                <a:ext uri="{FF2B5EF4-FFF2-40B4-BE49-F238E27FC236}">
                  <a16:creationId xmlns:a16="http://schemas.microsoft.com/office/drawing/2014/main" id="{6886AB1A-EDE6-5C69-0957-E6AAF917939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0070310C-4800-0871-5313-17DD8FCAD5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4A164321-7134-5A41-E758-17C2D52C5F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4871BC85-C821-797C-8CA5-73EEB6A5052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D4365D0C-2EF0-8540-FE93-CBA3A1CCBCC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96509F43-5CBD-2C95-C86C-66638B700336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EEF6780-456D-8965-859A-ADAE278CE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800" y="1692000"/>
            <a:ext cx="11232000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42232B5-9774-1129-8609-5C7DBAA1CC69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8379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5AB6950-3251-42EF-26C6-76123B5B2FB0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B7699A98-03B3-FE9F-CF19-19D5C2A967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2310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699A98-03B3-FE9F-CF19-19D5C2A96786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5" name="Inhaltsplatzhalter 2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11221200" cy="45267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307777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1-2 zeilige Kernaussage</a:t>
            </a:r>
            <a:endParaRPr lang="en-DE"/>
          </a:p>
        </p:txBody>
      </p:sp>
      <p:sp>
        <p:nvSpPr>
          <p:cNvPr id="3" name="Datumsplatzhalter 7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wrap="none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87B71C5-C1EA-47FE-9C60-846061AAAC6A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12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wrap="none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13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wrap="none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20609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FEFAF7-1241-4B51-9E1C-06F8EC2177AC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5" y="1692000"/>
            <a:ext cx="5508624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 lang="de-DE" dirty="0"/>
            </a:lvl7pPr>
            <a:lvl8pPr>
              <a:buClr>
                <a:schemeClr val="tx1"/>
              </a:buClr>
              <a:defRPr lang="de-DE" dirty="0"/>
            </a:lvl8pPr>
            <a:lvl9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>
              <a:buClr>
                <a:schemeClr val="tx1"/>
              </a:buClr>
            </a:pPr>
            <a:r>
              <a:rPr lang="de-DE"/>
              <a:t>Erste Aufzählungsebene</a:t>
            </a:r>
          </a:p>
          <a:p>
            <a:pPr lvl="3">
              <a:buClr>
                <a:schemeClr val="tx1"/>
              </a:buClr>
            </a:pPr>
            <a:r>
              <a:rPr lang="de-DE"/>
              <a:t>Zweite Aufzählungsebene</a:t>
            </a:r>
          </a:p>
          <a:p>
            <a:pPr lvl="4">
              <a:buClr>
                <a:schemeClr val="tx1"/>
              </a:buClr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>
              <a:buClr>
                <a:schemeClr val="tx1"/>
              </a:buClr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3297B8A-3EFD-9096-0A2F-E27AE136AAB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03950" y="1692000"/>
            <a:ext cx="5508625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 lang="de-DE" dirty="0"/>
            </a:lvl7pPr>
            <a:lvl8pPr>
              <a:buClr>
                <a:schemeClr val="tx1"/>
              </a:buClr>
              <a:defRPr lang="de-DE" dirty="0"/>
            </a:lvl8pPr>
            <a:lvl9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>
              <a:buClr>
                <a:schemeClr val="tx1"/>
              </a:buClr>
            </a:pPr>
            <a:r>
              <a:rPr lang="de-DE"/>
              <a:t>Erste Aufzählungsebene</a:t>
            </a:r>
          </a:p>
          <a:p>
            <a:pPr lvl="3">
              <a:buClr>
                <a:schemeClr val="tx1"/>
              </a:buClr>
            </a:pPr>
            <a:r>
              <a:rPr lang="de-DE"/>
              <a:t>Zweite Aufzählungsebene</a:t>
            </a:r>
          </a:p>
          <a:p>
            <a:pPr lvl="4">
              <a:buClr>
                <a:schemeClr val="tx1"/>
              </a:buClr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>
              <a:buClr>
                <a:schemeClr val="tx1"/>
              </a:buClr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282A9AF-A4AA-E84C-591A-B3E375E639E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1481B85E-07B2-FA3B-F0C0-577717C901B0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65B32A0B-364C-12E2-BDBA-0056A8956F2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9">
              <a:extLst>
                <a:ext uri="{FF2B5EF4-FFF2-40B4-BE49-F238E27FC236}">
                  <a16:creationId xmlns:a16="http://schemas.microsoft.com/office/drawing/2014/main" id="{BF3FF4CE-AAFC-83FF-10EC-85FBAD7674E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66887711-09B1-E8A0-7E65-FD912AD1276A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BA7494B3-F402-3647-75B9-BA4FFB9E9995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DAB01C47-4AD1-F51D-02F2-5B87B5C66FD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3">
              <a:extLst>
                <a:ext uri="{FF2B5EF4-FFF2-40B4-BE49-F238E27FC236}">
                  <a16:creationId xmlns:a16="http://schemas.microsoft.com/office/drawing/2014/main" id="{D0666673-6E22-8A0D-ED15-DF0FF50E7180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CB12D1E3-47DE-A0C4-2437-EF4F3C0D84B3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819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3908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4D95527-75BC-48E9-B020-8AEC835AAF0C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2E0404E-6FDD-81E9-20EA-B6504879D90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5" y="1692000"/>
            <a:ext cx="3600450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91CAEC5D-CCB3-7934-7921-07D698C3673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95112" y="1692000"/>
            <a:ext cx="3600450" cy="45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0F70025F-3B55-957F-33E5-3E1627255D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0800" y="1692000"/>
            <a:ext cx="3600000" cy="45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80217CF-EA16-F82A-43DD-E24538BC2C65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C32D8107-52D7-AEB0-4B45-A07D1205825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" name="Freihandform: Form 8">
              <a:extLst>
                <a:ext uri="{FF2B5EF4-FFF2-40B4-BE49-F238E27FC236}">
                  <a16:creationId xmlns:a16="http://schemas.microsoft.com/office/drawing/2014/main" id="{853E05CF-B7EB-C6C5-62EB-51CC3C90A00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2D16DA4F-2A80-0F22-0BC2-DC9D0938384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8D1D2A26-B367-03D8-F785-0DF0F39F6CCD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286EFAD0-4F98-F2AB-3F35-14983585821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A695ADA1-FCC3-2E7E-4BA8-8C99CCBBD02C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D694A3A4-C8BB-435F-867A-D46A30CEA2E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04197C6C-76A9-B0BD-E862-2B36D24C8486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8415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2706">
          <p15:clr>
            <a:srgbClr val="FBAE40"/>
          </p15:clr>
        </p15:guide>
        <p15:guide id="7" pos="2570">
          <p15:clr>
            <a:srgbClr val="FBAE40"/>
          </p15:clr>
        </p15:guide>
        <p15:guide id="8" pos="4974">
          <p15:clr>
            <a:srgbClr val="FBAE40"/>
          </p15:clr>
        </p15:guide>
        <p15:guide id="9" pos="51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71C87C3-DF58-4DBE-BC65-D05B70B84DFB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B2AE0B4-8D70-1D06-7B90-7083C417790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2700963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BC72F6-D180-530A-E697-7A3C4E150A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324225" y="1692000"/>
            <a:ext cx="2700338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01628C4-C1C5-7B3B-6E04-7821D7DB49C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67437" y="1692000"/>
            <a:ext cx="2700337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8A173752-2512-D95C-DE43-00AA425A98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012238" y="1692000"/>
            <a:ext cx="2700337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C6FB903-26F1-7FE7-8F15-25C9039503F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A813A829-6CF6-2C31-D617-CF0083C672C5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E4D073C6-EB63-41FB-4AFD-F0F4C16BCC1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9">
              <a:extLst>
                <a:ext uri="{FF2B5EF4-FFF2-40B4-BE49-F238E27FC236}">
                  <a16:creationId xmlns:a16="http://schemas.microsoft.com/office/drawing/2014/main" id="{8F5C800C-A878-CD92-F785-DBA136876682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3AAAC195-75A1-9913-0378-FBFF81F6A42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E93C66CD-17A7-837E-009F-87462E06645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48F776FF-142D-B479-EBBE-E1C8F5CCEFFC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CD8D39E7-724D-12A4-ED7F-A135AA85D90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74053C5C-C22E-C31D-6D3C-1F6EF1361020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223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2094">
          <p15:clr>
            <a:srgbClr val="FBAE40"/>
          </p15:clr>
        </p15:guide>
        <p15:guide id="7" pos="2003">
          <p15:clr>
            <a:srgbClr val="FBAE40"/>
          </p15:clr>
        </p15:guide>
        <p15:guide id="8" pos="3795">
          <p15:clr>
            <a:srgbClr val="FBAE40"/>
          </p15:clr>
        </p15:guide>
        <p15:guide id="9" pos="3885">
          <p15:clr>
            <a:srgbClr val="FBAE40"/>
          </p15:clr>
        </p15:guide>
        <p15:guide id="10" pos="5586">
          <p15:clr>
            <a:srgbClr val="FBAE40"/>
          </p15:clr>
        </p15:guide>
        <p15:guide id="11" pos="567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15CC641-5E21-4A78-8A5E-CDC9747EBC0F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3149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B2AE0B4-8D70-1D06-7B90-7083C417790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8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BC72F6-D180-530A-E697-7A3C4E150A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56242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01628C4-C1C5-7B3B-6E04-7821D7DB49C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11130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8A173752-2512-D95C-DE43-00AA425A98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88574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Inhaltsplatzhalter 9">
            <a:extLst>
              <a:ext uri="{FF2B5EF4-FFF2-40B4-BE49-F238E27FC236}">
                <a16:creationId xmlns:a16="http://schemas.microsoft.com/office/drawing/2014/main" id="{499F2FB0-58B1-D969-081F-99F9FC1EECE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033686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7D259B6-1CB4-4C8E-99F8-01C85CF10F9D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476014FB-B077-0B2D-970C-25C82E4125C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7D223BBF-F397-3BFC-F3BF-A502AF49F2A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E1BE9B29-0E28-644B-9949-8F728DDBCD2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21C4621F-7C41-A20D-A1A9-14D27CA25EEA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76F2B95D-AD04-D6BA-8B1F-6DDF88B9B6A7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12">
              <a:extLst>
                <a:ext uri="{FF2B5EF4-FFF2-40B4-BE49-F238E27FC236}">
                  <a16:creationId xmlns:a16="http://schemas.microsoft.com/office/drawing/2014/main" id="{2141D692-3F96-3A53-0FC4-2A4D661E03E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0BDB0DF2-BD35-1B66-C2F3-1803CD37469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0" name="Textfeld 19">
            <a:extLst>
              <a:ext uri="{FF2B5EF4-FFF2-40B4-BE49-F238E27FC236}">
                <a16:creationId xmlns:a16="http://schemas.microsoft.com/office/drawing/2014/main" id="{7630EFF4-F219-EFEB-1D17-1433314B7ED2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016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1731">
          <p15:clr>
            <a:srgbClr val="FBAE40"/>
          </p15:clr>
        </p15:guide>
        <p15:guide id="7" pos="1640">
          <p15:clr>
            <a:srgbClr val="FBAE40"/>
          </p15:clr>
        </p15:guide>
        <p15:guide id="8" pos="3069">
          <p15:clr>
            <a:srgbClr val="FBAE40"/>
          </p15:clr>
        </p15:guide>
        <p15:guide id="9" pos="3160">
          <p15:clr>
            <a:srgbClr val="FBAE40"/>
          </p15:clr>
        </p15:guide>
        <p15:guide id="10" pos="5949">
          <p15:clr>
            <a:srgbClr val="FBAE40"/>
          </p15:clr>
        </p15:guide>
        <p15:guide id="11" pos="6040">
          <p15:clr>
            <a:srgbClr val="FBAE40"/>
          </p15:clr>
        </p15:guide>
        <p15:guide id="12" pos="4520">
          <p15:clr>
            <a:srgbClr val="FBAE40"/>
          </p15:clr>
        </p15:guide>
        <p15:guide id="13" pos="461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FCFEF1-4183-40E3-8CDA-0D8EA36A046C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2E0404E-6FDD-81E9-20EA-B6504879D90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5" y="1692000"/>
            <a:ext cx="3600450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91CAEC5D-CCB3-7934-7921-07D698C3673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95775" y="1692000"/>
            <a:ext cx="3600450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0F70025F-3B55-957F-33E5-3E1627255D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2126" y="1692000"/>
            <a:ext cx="3587873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Inhaltsplatzhalter 16">
            <a:extLst>
              <a:ext uri="{FF2B5EF4-FFF2-40B4-BE49-F238E27FC236}">
                <a16:creationId xmlns:a16="http://schemas.microsoft.com/office/drawing/2014/main" id="{EC758001-3F28-4840-5033-B01A8D44F0F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8800" y="4032000"/>
            <a:ext cx="3600450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5" name="Inhaltsplatzhalter 20">
            <a:extLst>
              <a:ext uri="{FF2B5EF4-FFF2-40B4-BE49-F238E27FC236}">
                <a16:creationId xmlns:a16="http://schemas.microsoft.com/office/drawing/2014/main" id="{357B8B75-D241-07F7-0267-11F96E0D316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24702" y="4032000"/>
            <a:ext cx="3587873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2FB7EEF-2CC9-795E-B0A5-8489F270A50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FC32130C-D13D-3012-38B8-01C80F58D1D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39190A96-7BA0-0E94-3E2C-ED5BFD80AF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9CCA9BAF-1D97-7035-3873-4D4BAD6A67FB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44B3C3B5-C3DE-E785-DA29-9AFBE7806AA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D5A7834E-E462-2863-4360-E9AB632BAAD3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1A652ACF-E816-2C31-E4EA-3E90A087C6A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3">
              <a:extLst>
                <a:ext uri="{FF2B5EF4-FFF2-40B4-BE49-F238E27FC236}">
                  <a16:creationId xmlns:a16="http://schemas.microsoft.com/office/drawing/2014/main" id="{14A47562-F091-7DDC-1CCB-5AA6147E7260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2" name="Inhaltsplatzhalter 18">
            <a:extLst>
              <a:ext uri="{FF2B5EF4-FFF2-40B4-BE49-F238E27FC236}">
                <a16:creationId xmlns:a16="http://schemas.microsoft.com/office/drawing/2014/main" id="{1191895F-D256-467C-CE59-D3F4FF86ED1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308351" y="4032000"/>
            <a:ext cx="3600450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3671FCA-09DC-A95C-3104-A58D1AFF8199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174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2706">
          <p15:clr>
            <a:srgbClr val="FBAE40"/>
          </p15:clr>
        </p15:guide>
        <p15:guide id="7" pos="2570">
          <p15:clr>
            <a:srgbClr val="FBAE40"/>
          </p15:clr>
        </p15:guide>
        <p15:guide id="8" pos="4974">
          <p15:clr>
            <a:srgbClr val="FBAE40"/>
          </p15:clr>
        </p15:guide>
        <p15:guide id="9" pos="5110">
          <p15:clr>
            <a:srgbClr val="FBAE40"/>
          </p15:clr>
        </p15:guide>
        <p15:guide id="10" orient="horz" pos="2432">
          <p15:clr>
            <a:srgbClr val="FBAE40"/>
          </p15:clr>
        </p15:guide>
        <p15:guide id="11" orient="horz" pos="256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E6E197F-6797-497A-A40A-ADA39863A8AF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B2AE0B4-8D70-1D06-7B90-7083C417790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2700963" cy="2232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BC72F6-D180-530A-E697-7A3C4E150A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324225" y="1692000"/>
            <a:ext cx="2698748" cy="2232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01628C4-C1C5-7B3B-6E04-7821D7DB49C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67437" y="1692000"/>
            <a:ext cx="2700337" cy="2232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8A173752-2512-D95C-DE43-00AA425A98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010463" y="1692000"/>
            <a:ext cx="2700337" cy="2232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C6FB903-26F1-7FE7-8F15-25C9039503F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A813A829-6CF6-2C31-D617-CF0083C672C5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E4D073C6-EB63-41FB-4AFD-F0F4C16BCC1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9">
              <a:extLst>
                <a:ext uri="{FF2B5EF4-FFF2-40B4-BE49-F238E27FC236}">
                  <a16:creationId xmlns:a16="http://schemas.microsoft.com/office/drawing/2014/main" id="{8F5C800C-A878-CD92-F785-DBA136876682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3AAAC195-75A1-9913-0378-FBFF81F6A42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E93C66CD-17A7-837E-009F-87462E06645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48F776FF-142D-B479-EBBE-E1C8F5CCEFFC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CD8D39E7-724D-12A4-ED7F-A135AA85D90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Inhaltsplatzhalter 29">
            <a:extLst>
              <a:ext uri="{FF2B5EF4-FFF2-40B4-BE49-F238E27FC236}">
                <a16:creationId xmlns:a16="http://schemas.microsoft.com/office/drawing/2014/main" id="{5808EA1A-6C82-B1E9-C9A4-87D6F343312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8800" y="4091601"/>
            <a:ext cx="2700337" cy="2232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0" name="Inhaltsplatzhalter 31">
            <a:extLst>
              <a:ext uri="{FF2B5EF4-FFF2-40B4-BE49-F238E27FC236}">
                <a16:creationId xmlns:a16="http://schemas.microsoft.com/office/drawing/2014/main" id="{5FE09DC3-4B7D-EA72-A930-15819F3BC16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22800" y="4091601"/>
            <a:ext cx="2700338" cy="2232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33">
            <a:extLst>
              <a:ext uri="{FF2B5EF4-FFF2-40B4-BE49-F238E27FC236}">
                <a16:creationId xmlns:a16="http://schemas.microsoft.com/office/drawing/2014/main" id="{13123010-32D2-F508-84C7-0320E4AA9A8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66801" y="4091601"/>
            <a:ext cx="2700337" cy="2232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2" name="Inhaltsplatzhalter 35">
            <a:extLst>
              <a:ext uri="{FF2B5EF4-FFF2-40B4-BE49-F238E27FC236}">
                <a16:creationId xmlns:a16="http://schemas.microsoft.com/office/drawing/2014/main" id="{34C770EF-E979-2827-C9A5-B6257F656788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10800" y="4091601"/>
            <a:ext cx="2700000" cy="2232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F34A883-1985-5017-91E7-DCB6D9C26E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19999"/>
            <a:ext cx="11232000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1-2 </a:t>
            </a:r>
            <a:r>
              <a:rPr lang="en-US" err="1"/>
              <a:t>zeilige</a:t>
            </a:r>
            <a:r>
              <a:rPr lang="en-US"/>
              <a:t> </a:t>
            </a:r>
            <a:r>
              <a:rPr lang="en-US" err="1"/>
              <a:t>Kernaussage</a:t>
            </a:r>
            <a:endParaRPr lang="en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C81E8DE-6909-1BE5-8747-439BF4336C4F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433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2094">
          <p15:clr>
            <a:srgbClr val="FBAE40"/>
          </p15:clr>
        </p15:guide>
        <p15:guide id="7" pos="2003">
          <p15:clr>
            <a:srgbClr val="FBAE40"/>
          </p15:clr>
        </p15:guide>
        <p15:guide id="8" pos="3795">
          <p15:clr>
            <a:srgbClr val="FBAE40"/>
          </p15:clr>
        </p15:guide>
        <p15:guide id="9" pos="3885">
          <p15:clr>
            <a:srgbClr val="FBAE40"/>
          </p15:clr>
        </p15:guide>
        <p15:guide id="10" pos="5586">
          <p15:clr>
            <a:srgbClr val="FBAE40"/>
          </p15:clr>
        </p15:guide>
        <p15:guide id="11" pos="5677">
          <p15:clr>
            <a:srgbClr val="FBAE40"/>
          </p15:clr>
        </p15:guide>
        <p15:guide id="12" orient="horz" pos="2432">
          <p15:clr>
            <a:srgbClr val="FBAE40"/>
          </p15:clr>
        </p15:guide>
        <p15:guide id="13" orient="horz" pos="256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4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EF5F2C9-0911-4858-8FDE-E73BD61E2288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7524751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92000"/>
            <a:ext cx="7524751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EA69D08-A500-36F4-6CFF-EFC5A5E42D29}"/>
              </a:ext>
            </a:extLst>
          </p:cNvPr>
          <p:cNvSpPr/>
          <p:nvPr userDrawn="1"/>
        </p:nvSpPr>
        <p:spPr>
          <a:xfrm>
            <a:off x="8232000" y="0"/>
            <a:ext cx="3960000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3297B8A-3EFD-9096-0A2F-E27AE136AAB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435975" y="1692000"/>
            <a:ext cx="3276599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bg1"/>
              </a:buClr>
              <a:defRPr lang="de-DE" sz="120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bg1"/>
              </a:buClr>
              <a:defRPr lang="de-DE" sz="120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bg1"/>
              </a:buClr>
              <a:defRPr lang="de-DE" sz="120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bg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bg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bg1"/>
              </a:buClr>
              <a:defRPr lang="de-DE" sz="8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383AA72-4F75-408C-1FE4-F62F8CDD5A2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chemeClr val="bg1"/>
          </a:solidFill>
        </p:grpSpPr>
        <p:sp>
          <p:nvSpPr>
            <p:cNvPr id="19" name="Freihandform: Form 7">
              <a:extLst>
                <a:ext uri="{FF2B5EF4-FFF2-40B4-BE49-F238E27FC236}">
                  <a16:creationId xmlns:a16="http://schemas.microsoft.com/office/drawing/2014/main" id="{97E84301-3E6B-D406-2FA9-F7D98295B1E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8">
              <a:extLst>
                <a:ext uri="{FF2B5EF4-FFF2-40B4-BE49-F238E27FC236}">
                  <a16:creationId xmlns:a16="http://schemas.microsoft.com/office/drawing/2014/main" id="{55067C28-F5FC-D320-3049-805C65CD3F6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9">
              <a:extLst>
                <a:ext uri="{FF2B5EF4-FFF2-40B4-BE49-F238E27FC236}">
                  <a16:creationId xmlns:a16="http://schemas.microsoft.com/office/drawing/2014/main" id="{35F5C339-BC04-8BFD-D5ED-94C330763E1D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0">
              <a:extLst>
                <a:ext uri="{FF2B5EF4-FFF2-40B4-BE49-F238E27FC236}">
                  <a16:creationId xmlns:a16="http://schemas.microsoft.com/office/drawing/2014/main" id="{3598066F-A2CE-090B-05DB-0945771AB92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ihandform: Form 11">
              <a:extLst>
                <a:ext uri="{FF2B5EF4-FFF2-40B4-BE49-F238E27FC236}">
                  <a16:creationId xmlns:a16="http://schemas.microsoft.com/office/drawing/2014/main" id="{BB47AEBC-EC73-471A-948C-CC3C9D1FC55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ihandform: Form 12">
              <a:extLst>
                <a:ext uri="{FF2B5EF4-FFF2-40B4-BE49-F238E27FC236}">
                  <a16:creationId xmlns:a16="http://schemas.microsoft.com/office/drawing/2014/main" id="{AE63D540-9E47-A754-01E2-E4E6E39533B0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ihandform: Form 13">
              <a:extLst>
                <a:ext uri="{FF2B5EF4-FFF2-40B4-BE49-F238E27FC236}">
                  <a16:creationId xmlns:a16="http://schemas.microsoft.com/office/drawing/2014/main" id="{52FC46CD-D21D-D4A6-E9E3-1B0F4E2FE16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0B3F3687-9072-339C-5F8B-C12D77A90023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938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5314">
          <p15:clr>
            <a:srgbClr val="FBAE40"/>
          </p15:clr>
        </p15:guide>
        <p15:guide id="7" pos="5178">
          <p15:clr>
            <a:srgbClr val="FBAE40"/>
          </p15:clr>
        </p15:guide>
        <p15:guide id="8" pos="50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 Smal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1800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CED4CD6-91CA-4176-A303-F60BFAB68914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19999"/>
            <a:ext cx="9180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92000"/>
            <a:ext cx="9180000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EA69D08-A500-36F4-6CFF-EFC5A5E42D29}"/>
              </a:ext>
            </a:extLst>
          </p:cNvPr>
          <p:cNvSpPr/>
          <p:nvPr userDrawn="1"/>
        </p:nvSpPr>
        <p:spPr>
          <a:xfrm>
            <a:off x="9852000" y="0"/>
            <a:ext cx="2340000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383AA72-4F75-408C-1FE4-F62F8CDD5A2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chemeClr val="bg1"/>
          </a:solidFill>
        </p:grpSpPr>
        <p:sp>
          <p:nvSpPr>
            <p:cNvPr id="19" name="Freihandform: Form 7">
              <a:extLst>
                <a:ext uri="{FF2B5EF4-FFF2-40B4-BE49-F238E27FC236}">
                  <a16:creationId xmlns:a16="http://schemas.microsoft.com/office/drawing/2014/main" id="{97E84301-3E6B-D406-2FA9-F7D98295B1E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8">
              <a:extLst>
                <a:ext uri="{FF2B5EF4-FFF2-40B4-BE49-F238E27FC236}">
                  <a16:creationId xmlns:a16="http://schemas.microsoft.com/office/drawing/2014/main" id="{55067C28-F5FC-D320-3049-805C65CD3F6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9">
              <a:extLst>
                <a:ext uri="{FF2B5EF4-FFF2-40B4-BE49-F238E27FC236}">
                  <a16:creationId xmlns:a16="http://schemas.microsoft.com/office/drawing/2014/main" id="{35F5C339-BC04-8BFD-D5ED-94C330763E1D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0">
              <a:extLst>
                <a:ext uri="{FF2B5EF4-FFF2-40B4-BE49-F238E27FC236}">
                  <a16:creationId xmlns:a16="http://schemas.microsoft.com/office/drawing/2014/main" id="{3598066F-A2CE-090B-05DB-0945771AB92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ihandform: Form 11">
              <a:extLst>
                <a:ext uri="{FF2B5EF4-FFF2-40B4-BE49-F238E27FC236}">
                  <a16:creationId xmlns:a16="http://schemas.microsoft.com/office/drawing/2014/main" id="{BB47AEBC-EC73-471A-948C-CC3C9D1FC55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ihandform: Form 12">
              <a:extLst>
                <a:ext uri="{FF2B5EF4-FFF2-40B4-BE49-F238E27FC236}">
                  <a16:creationId xmlns:a16="http://schemas.microsoft.com/office/drawing/2014/main" id="{AE63D540-9E47-A754-01E2-E4E6E39533B0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ihandform: Form 13">
              <a:extLst>
                <a:ext uri="{FF2B5EF4-FFF2-40B4-BE49-F238E27FC236}">
                  <a16:creationId xmlns:a16="http://schemas.microsoft.com/office/drawing/2014/main" id="{52FC46CD-D21D-D4A6-E9E3-1B0F4E2FE16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extfeld 3">
            <a:extLst>
              <a:ext uri="{FF2B5EF4-FFF2-40B4-BE49-F238E27FC236}">
                <a16:creationId xmlns:a16="http://schemas.microsoft.com/office/drawing/2014/main" id="{91CB41D7-27B6-FE46-850C-20ECF181770B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157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6199">
          <p15:clr>
            <a:srgbClr val="FBAE40"/>
          </p15:clr>
        </p15:guide>
        <p15:guide id="7" pos="608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C6C8E5F1-A21E-1E3C-EAD5-7971E9C458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20076" y="0"/>
            <a:ext cx="3971924" cy="6381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4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rgbClr val="7192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D03248-D352-45E1-93D0-771C2C5380BA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4751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92000"/>
            <a:ext cx="7524751" cy="468975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8A9A129-AE07-6F8F-67A1-DF6CC8ACACB4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2DFA1B51-2BD4-30E0-A40A-7DE8784FBBDC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E4118464-20D1-B4B7-F2D9-47DCD32BB27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958B0B68-806A-A4BB-B0C5-3C9AA55E14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6F3F1F1C-9018-0BB3-18AE-D874961D7E0E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DFADA72-48BF-754F-85CD-1046EA5BFCF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94786CEF-A85C-E037-DA68-C952C11DB2F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EEB2AA0E-ADAD-F8E5-0D40-B2A9ABF40D8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60138E1B-A696-0BC2-6FD0-043062595098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041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pos="5178">
          <p15:clr>
            <a:srgbClr val="FBAE40"/>
          </p15:clr>
        </p15:guide>
        <p15:guide id="8" pos="504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C6C8E5F1-A21E-1E3C-EAD5-7971E9C458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40464" y="0"/>
            <a:ext cx="5951536" cy="6381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5472738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rgbClr val="7192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A431D8E-C6C3-4339-836B-0A6CB09D4CAB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5472739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92000"/>
            <a:ext cx="5472113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D4F5022-61B8-1B0D-2D38-B0C4242821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84E8A8DB-E4A8-3171-4B04-F18A2388878E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BFD149DF-712F-D120-93DB-D93E23568D8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2FDD25EA-875F-366C-E169-AF415E8E26A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52AFE74D-C0CE-18E5-E053-14F400923C8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CA0E81D-B205-5DD3-BCC0-FCABD5E2DD4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2104F47F-FC8D-DC47-4B4D-94DD06489F07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813DCDD-CFA0-811E-90AE-70DC26E3E27B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432DA02D-1B6A-1F68-7E87-5136FB0D57CC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684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pos="3931">
          <p15:clr>
            <a:srgbClr val="FBAE40"/>
          </p15:clr>
        </p15:guide>
        <p15:guide id="8" pos="374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BD4D9832-ADBF-F6AB-A1E8-5197D9CD4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3843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4D9832-ADBF-F6AB-A1E8-5197D9CD43E5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E581C8-D196-4A75-8F5A-778C2449E6B5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3775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5496049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03952" y="1692000"/>
            <a:ext cx="549604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93C8C1C-2CC6-6DEE-EF9E-7F5C5BF31FD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F083DEB7-F224-116E-0238-AEF1309B38F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68A53D3E-9E01-3468-B213-96080B320B1F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DD6E4A1B-0662-1D07-6A65-8F0E2714377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DC2CB2CB-CE02-0F83-42B1-FD861F68892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B1097272-963D-F850-DA73-0861BE345BA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046D208F-D9FD-2427-BA4F-97350D7EA8B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9ABA535F-AD05-A922-B937-10974F80A01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D5D3DD6D-4095-7FEA-D8AC-A0D226F99A81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696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377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B3B158-9AB8-2721-86CB-D58A82669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E56933-68A4-CF20-140D-8EB369777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BC83C5B-59A2-440C-A697-29D7AA2690DA}" type="datetime1">
              <a:rPr lang="de-DE" smtClean="0"/>
              <a:t>03.06.25</a:t>
            </a:fld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515572-9796-FE08-A769-6E53E40AE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02E079-7315-D14F-DCB5-40687079C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DF9AC738-DFA5-F30B-C635-8C2AFDC119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B494F94A-AC83-BB6D-AD2F-5F40F108CD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F5F4EA28-452B-B6E3-429E-32C98DABD8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9" name="Textplatzhalter 22">
            <a:extLst>
              <a:ext uri="{FF2B5EF4-FFF2-40B4-BE49-F238E27FC236}">
                <a16:creationId xmlns:a16="http://schemas.microsoft.com/office/drawing/2014/main" id="{364CAE38-BB4A-9453-CD17-40AEAA25E62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3B9DFA1-4724-732E-27DE-229158FEB2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DFCF6D07-CE43-788C-8C44-94365606595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37764E0-60B6-12AB-077E-542D5DD6CE7C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9DE22CFF-3EF1-CC19-AC91-4FC603A52145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3EDA4479-C644-DC5C-5B8E-19C3F1EC5C7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8">
            <a:extLst>
              <a:ext uri="{FF2B5EF4-FFF2-40B4-BE49-F238E27FC236}">
                <a16:creationId xmlns:a16="http://schemas.microsoft.com/office/drawing/2014/main" id="{2EB2B99A-BD6C-F96C-23AF-9B0378C6D9F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9">
            <a:extLst>
              <a:ext uri="{FF2B5EF4-FFF2-40B4-BE49-F238E27FC236}">
                <a16:creationId xmlns:a16="http://schemas.microsoft.com/office/drawing/2014/main" id="{0157AAD9-75DA-4242-F1C8-41E4119A234E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40">
            <a:extLst>
              <a:ext uri="{FF2B5EF4-FFF2-40B4-BE49-F238E27FC236}">
                <a16:creationId xmlns:a16="http://schemas.microsoft.com/office/drawing/2014/main" id="{BC872E09-93BA-788D-087D-E762D3E12154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9">
            <a:extLst>
              <a:ext uri="{FF2B5EF4-FFF2-40B4-BE49-F238E27FC236}">
                <a16:creationId xmlns:a16="http://schemas.microsoft.com/office/drawing/2014/main" id="{2F6CC2BC-3CCE-4181-50C6-B9C60C7BAA34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50">
            <a:extLst>
              <a:ext uri="{FF2B5EF4-FFF2-40B4-BE49-F238E27FC236}">
                <a16:creationId xmlns:a16="http://schemas.microsoft.com/office/drawing/2014/main" id="{87A2EBF5-52F5-7475-1392-7E7F9A708DCB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1">
            <a:extLst>
              <a:ext uri="{FF2B5EF4-FFF2-40B4-BE49-F238E27FC236}">
                <a16:creationId xmlns:a16="http://schemas.microsoft.com/office/drawing/2014/main" id="{B0C6C647-2A67-09C7-9F30-FEE524CA2CB6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2">
            <a:extLst>
              <a:ext uri="{FF2B5EF4-FFF2-40B4-BE49-F238E27FC236}">
                <a16:creationId xmlns:a16="http://schemas.microsoft.com/office/drawing/2014/main" id="{8A0CD18E-434F-D515-3BAE-6E85ABFC041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53">
            <a:extLst>
              <a:ext uri="{FF2B5EF4-FFF2-40B4-BE49-F238E27FC236}">
                <a16:creationId xmlns:a16="http://schemas.microsoft.com/office/drawing/2014/main" id="{FBCE3485-EE64-2E14-6AC2-4985402EC48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54">
            <a:extLst>
              <a:ext uri="{FF2B5EF4-FFF2-40B4-BE49-F238E27FC236}">
                <a16:creationId xmlns:a16="http://schemas.microsoft.com/office/drawing/2014/main" id="{E29623AC-8C7F-8E79-5681-55EC218530F1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55">
            <a:extLst>
              <a:ext uri="{FF2B5EF4-FFF2-40B4-BE49-F238E27FC236}">
                <a16:creationId xmlns:a16="http://schemas.microsoft.com/office/drawing/2014/main" id="{66051730-4514-79D7-B845-8194C7889E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56">
            <a:extLst>
              <a:ext uri="{FF2B5EF4-FFF2-40B4-BE49-F238E27FC236}">
                <a16:creationId xmlns:a16="http://schemas.microsoft.com/office/drawing/2014/main" id="{77D19C3F-83AA-9E9C-B465-FEAAD9F11E3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57">
            <a:extLst>
              <a:ext uri="{FF2B5EF4-FFF2-40B4-BE49-F238E27FC236}">
                <a16:creationId xmlns:a16="http://schemas.microsoft.com/office/drawing/2014/main" id="{92E3C660-F84B-8981-38C5-1F36D818DC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58">
            <a:extLst>
              <a:ext uri="{FF2B5EF4-FFF2-40B4-BE49-F238E27FC236}">
                <a16:creationId xmlns:a16="http://schemas.microsoft.com/office/drawing/2014/main" id="{D703C675-25FA-49B5-A643-704F293324E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59">
            <a:extLst>
              <a:ext uri="{FF2B5EF4-FFF2-40B4-BE49-F238E27FC236}">
                <a16:creationId xmlns:a16="http://schemas.microsoft.com/office/drawing/2014/main" id="{1EF9C332-00EA-D34C-9A3D-26D5D25D6ABD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60">
            <a:extLst>
              <a:ext uri="{FF2B5EF4-FFF2-40B4-BE49-F238E27FC236}">
                <a16:creationId xmlns:a16="http://schemas.microsoft.com/office/drawing/2014/main" id="{061DF69C-E09D-DF03-72DA-3BCA5C6B56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61">
            <a:extLst>
              <a:ext uri="{FF2B5EF4-FFF2-40B4-BE49-F238E27FC236}">
                <a16:creationId xmlns:a16="http://schemas.microsoft.com/office/drawing/2014/main" id="{AD6F0D76-0971-2D62-A8B4-5CA94FF38CE5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62">
            <a:extLst>
              <a:ext uri="{FF2B5EF4-FFF2-40B4-BE49-F238E27FC236}">
                <a16:creationId xmlns:a16="http://schemas.microsoft.com/office/drawing/2014/main" id="{09CCC726-E711-690B-E371-EF876315856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67">
            <a:extLst>
              <a:ext uri="{FF2B5EF4-FFF2-40B4-BE49-F238E27FC236}">
                <a16:creationId xmlns:a16="http://schemas.microsoft.com/office/drawing/2014/main" id="{6C48FE8E-08CE-5458-CFD4-9B0F14B56D4B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68">
            <a:extLst>
              <a:ext uri="{FF2B5EF4-FFF2-40B4-BE49-F238E27FC236}">
                <a16:creationId xmlns:a16="http://schemas.microsoft.com/office/drawing/2014/main" id="{6C3D49E7-1030-B49A-4F21-0B8A1021FE2E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69">
            <a:extLst>
              <a:ext uri="{FF2B5EF4-FFF2-40B4-BE49-F238E27FC236}">
                <a16:creationId xmlns:a16="http://schemas.microsoft.com/office/drawing/2014/main" id="{6AA9EFD4-93A3-F496-8632-5CFFA839E5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70">
            <a:extLst>
              <a:ext uri="{FF2B5EF4-FFF2-40B4-BE49-F238E27FC236}">
                <a16:creationId xmlns:a16="http://schemas.microsoft.com/office/drawing/2014/main" id="{11A2A68A-1FD9-3885-F6EA-06235B2A0BD3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71">
            <a:extLst>
              <a:ext uri="{FF2B5EF4-FFF2-40B4-BE49-F238E27FC236}">
                <a16:creationId xmlns:a16="http://schemas.microsoft.com/office/drawing/2014/main" id="{17140381-D796-BC30-B841-2AE580F9CAE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72">
            <a:extLst>
              <a:ext uri="{FF2B5EF4-FFF2-40B4-BE49-F238E27FC236}">
                <a16:creationId xmlns:a16="http://schemas.microsoft.com/office/drawing/2014/main" id="{4C4A4A53-A839-E5CF-45A8-213D79F20A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73">
            <a:extLst>
              <a:ext uri="{FF2B5EF4-FFF2-40B4-BE49-F238E27FC236}">
                <a16:creationId xmlns:a16="http://schemas.microsoft.com/office/drawing/2014/main" id="{79FB9D54-D156-657B-9618-FE6B001B44D8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74">
            <a:extLst>
              <a:ext uri="{FF2B5EF4-FFF2-40B4-BE49-F238E27FC236}">
                <a16:creationId xmlns:a16="http://schemas.microsoft.com/office/drawing/2014/main" id="{E9DE55BA-DFF2-7A0F-D40F-5F317347C66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75">
            <a:extLst>
              <a:ext uri="{FF2B5EF4-FFF2-40B4-BE49-F238E27FC236}">
                <a16:creationId xmlns:a16="http://schemas.microsoft.com/office/drawing/2014/main" id="{4480DC20-1AB6-38D0-3547-CFB4E97C64C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76">
            <a:extLst>
              <a:ext uri="{FF2B5EF4-FFF2-40B4-BE49-F238E27FC236}">
                <a16:creationId xmlns:a16="http://schemas.microsoft.com/office/drawing/2014/main" id="{9FA60426-B31B-256A-A738-9DC607571C1B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10">
            <a:extLst>
              <a:ext uri="{FF2B5EF4-FFF2-40B4-BE49-F238E27FC236}">
                <a16:creationId xmlns:a16="http://schemas.microsoft.com/office/drawing/2014/main" id="{9257DE8A-01FA-ADE8-E590-47DEF6446DB7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11">
            <a:extLst>
              <a:ext uri="{FF2B5EF4-FFF2-40B4-BE49-F238E27FC236}">
                <a16:creationId xmlns:a16="http://schemas.microsoft.com/office/drawing/2014/main" id="{09F7FFE8-A16B-111C-5B8F-AA0CC95011E7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29DFF8F4-1B8F-16CA-D3A0-454A58B8293D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B5B56C8B-8570-2C57-6452-A9804A78AF8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E6EA58E6-895B-599E-6F00-9775504A4D4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53" name="Freihandform: Form 7">
              <a:extLst>
                <a:ext uri="{FF2B5EF4-FFF2-40B4-BE49-F238E27FC236}">
                  <a16:creationId xmlns:a16="http://schemas.microsoft.com/office/drawing/2014/main" id="{0CA37FA9-A25E-A871-3404-B4784965F76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ihandform: Form 8">
              <a:extLst>
                <a:ext uri="{FF2B5EF4-FFF2-40B4-BE49-F238E27FC236}">
                  <a16:creationId xmlns:a16="http://schemas.microsoft.com/office/drawing/2014/main" id="{722B6612-022E-9B22-E87B-AD0114088F5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ihandform: Form 9">
              <a:extLst>
                <a:ext uri="{FF2B5EF4-FFF2-40B4-BE49-F238E27FC236}">
                  <a16:creationId xmlns:a16="http://schemas.microsoft.com/office/drawing/2014/main" id="{D17D4103-8ED9-6FF5-5603-16FE50E434A3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ihandform: Form 10">
              <a:extLst>
                <a:ext uri="{FF2B5EF4-FFF2-40B4-BE49-F238E27FC236}">
                  <a16:creationId xmlns:a16="http://schemas.microsoft.com/office/drawing/2014/main" id="{CD758881-FE2A-AD4B-D875-207217EBE1D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ihandform: Form 11">
              <a:extLst>
                <a:ext uri="{FF2B5EF4-FFF2-40B4-BE49-F238E27FC236}">
                  <a16:creationId xmlns:a16="http://schemas.microsoft.com/office/drawing/2014/main" id="{44C9550E-9C08-09B0-B564-5E07284C586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ihandform: Form 12">
              <a:extLst>
                <a:ext uri="{FF2B5EF4-FFF2-40B4-BE49-F238E27FC236}">
                  <a16:creationId xmlns:a16="http://schemas.microsoft.com/office/drawing/2014/main" id="{3BB5F762-6C31-E6A7-961F-861F09D12A8B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ihandform: Form 13">
              <a:extLst>
                <a:ext uri="{FF2B5EF4-FFF2-40B4-BE49-F238E27FC236}">
                  <a16:creationId xmlns:a16="http://schemas.microsoft.com/office/drawing/2014/main" id="{0E974EB1-6F5F-A39E-B206-6D8C8A728C69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Textplatzhalter 8">
            <a:extLst>
              <a:ext uri="{FF2B5EF4-FFF2-40B4-BE49-F238E27FC236}">
                <a16:creationId xmlns:a16="http://schemas.microsoft.com/office/drawing/2014/main" id="{91C2B4B3-21FE-8450-8699-1E54E1D000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5FB2375B-DA7E-D5F7-37E5-D6561C7DF54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62" name="Textplatzhalter 8">
            <a:extLst>
              <a:ext uri="{FF2B5EF4-FFF2-40B4-BE49-F238E27FC236}">
                <a16:creationId xmlns:a16="http://schemas.microsoft.com/office/drawing/2014/main" id="{F1B5C5B6-1264-5B4C-CFA4-8381BF389C3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6EFC3BDD-F651-A43C-C015-C8F97EC66D7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64" name="Textplatzhalter 8">
            <a:extLst>
              <a:ext uri="{FF2B5EF4-FFF2-40B4-BE49-F238E27FC236}">
                <a16:creationId xmlns:a16="http://schemas.microsoft.com/office/drawing/2014/main" id="{E1321996-5141-9087-42AD-F13B42D5B32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73AABE1C-DFB7-5D41-5E5F-034C99F58BE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017EBB5-E4BE-EA14-8F17-2326D380AD8F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0030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Grafik 61" descr="Ein Bild, das Kleidung, Person, Gebäude, Mann enthält.&#10;&#10;Automatisch generierte Beschreibung">
            <a:extLst>
              <a:ext uri="{FF2B5EF4-FFF2-40B4-BE49-F238E27FC236}">
                <a16:creationId xmlns:a16="http://schemas.microsoft.com/office/drawing/2014/main" id="{A8F660D0-030D-C59B-7E4E-98C1C0628BA9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6B3B158-9AB8-2721-86CB-D58A82669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E56933-68A4-CF20-140D-8EB369777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E604D98-2F69-479B-9E28-AA8B1D339FEB}" type="datetime1">
              <a:rPr lang="de-DE" smtClean="0"/>
              <a:t>03.06.25</a:t>
            </a:fld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515572-9796-FE08-A769-6E53E40AE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02E079-7315-D14F-DCB5-40687079C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DF9AC738-DFA5-F30B-C635-8C2AFDC119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B494F94A-AC83-BB6D-AD2F-5F40F108CD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F5F4EA28-452B-B6E3-429E-32C98DABD8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9" name="Textplatzhalter 22">
            <a:extLst>
              <a:ext uri="{FF2B5EF4-FFF2-40B4-BE49-F238E27FC236}">
                <a16:creationId xmlns:a16="http://schemas.microsoft.com/office/drawing/2014/main" id="{364CAE38-BB4A-9453-CD17-40AEAA25E62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3B9DFA1-4724-732E-27DE-229158FEB2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DFCF6D07-CE43-788C-8C44-94365606595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37764E0-60B6-12AB-077E-542D5DD6CE7C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9DE22CFF-3EF1-CC19-AC91-4FC603A52145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3EDA4479-C644-DC5C-5B8E-19C3F1EC5C7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8">
            <a:extLst>
              <a:ext uri="{FF2B5EF4-FFF2-40B4-BE49-F238E27FC236}">
                <a16:creationId xmlns:a16="http://schemas.microsoft.com/office/drawing/2014/main" id="{2EB2B99A-BD6C-F96C-23AF-9B0378C6D9F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9">
            <a:extLst>
              <a:ext uri="{FF2B5EF4-FFF2-40B4-BE49-F238E27FC236}">
                <a16:creationId xmlns:a16="http://schemas.microsoft.com/office/drawing/2014/main" id="{0157AAD9-75DA-4242-F1C8-41E4119A234E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40">
            <a:extLst>
              <a:ext uri="{FF2B5EF4-FFF2-40B4-BE49-F238E27FC236}">
                <a16:creationId xmlns:a16="http://schemas.microsoft.com/office/drawing/2014/main" id="{BC872E09-93BA-788D-087D-E762D3E12154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9">
            <a:extLst>
              <a:ext uri="{FF2B5EF4-FFF2-40B4-BE49-F238E27FC236}">
                <a16:creationId xmlns:a16="http://schemas.microsoft.com/office/drawing/2014/main" id="{2F6CC2BC-3CCE-4181-50C6-B9C60C7BAA34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50">
            <a:extLst>
              <a:ext uri="{FF2B5EF4-FFF2-40B4-BE49-F238E27FC236}">
                <a16:creationId xmlns:a16="http://schemas.microsoft.com/office/drawing/2014/main" id="{87A2EBF5-52F5-7475-1392-7E7F9A708DCB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1">
            <a:extLst>
              <a:ext uri="{FF2B5EF4-FFF2-40B4-BE49-F238E27FC236}">
                <a16:creationId xmlns:a16="http://schemas.microsoft.com/office/drawing/2014/main" id="{B0C6C647-2A67-09C7-9F30-FEE524CA2CB6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2">
            <a:extLst>
              <a:ext uri="{FF2B5EF4-FFF2-40B4-BE49-F238E27FC236}">
                <a16:creationId xmlns:a16="http://schemas.microsoft.com/office/drawing/2014/main" id="{8A0CD18E-434F-D515-3BAE-6E85ABFC041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53">
            <a:extLst>
              <a:ext uri="{FF2B5EF4-FFF2-40B4-BE49-F238E27FC236}">
                <a16:creationId xmlns:a16="http://schemas.microsoft.com/office/drawing/2014/main" id="{FBCE3485-EE64-2E14-6AC2-4985402EC48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54">
            <a:extLst>
              <a:ext uri="{FF2B5EF4-FFF2-40B4-BE49-F238E27FC236}">
                <a16:creationId xmlns:a16="http://schemas.microsoft.com/office/drawing/2014/main" id="{E29623AC-8C7F-8E79-5681-55EC218530F1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55">
            <a:extLst>
              <a:ext uri="{FF2B5EF4-FFF2-40B4-BE49-F238E27FC236}">
                <a16:creationId xmlns:a16="http://schemas.microsoft.com/office/drawing/2014/main" id="{66051730-4514-79D7-B845-8194C7889E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56">
            <a:extLst>
              <a:ext uri="{FF2B5EF4-FFF2-40B4-BE49-F238E27FC236}">
                <a16:creationId xmlns:a16="http://schemas.microsoft.com/office/drawing/2014/main" id="{77D19C3F-83AA-9E9C-B465-FEAAD9F11E3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57">
            <a:extLst>
              <a:ext uri="{FF2B5EF4-FFF2-40B4-BE49-F238E27FC236}">
                <a16:creationId xmlns:a16="http://schemas.microsoft.com/office/drawing/2014/main" id="{92E3C660-F84B-8981-38C5-1F36D818DC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58">
            <a:extLst>
              <a:ext uri="{FF2B5EF4-FFF2-40B4-BE49-F238E27FC236}">
                <a16:creationId xmlns:a16="http://schemas.microsoft.com/office/drawing/2014/main" id="{D703C675-25FA-49B5-A643-704F293324E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59">
            <a:extLst>
              <a:ext uri="{FF2B5EF4-FFF2-40B4-BE49-F238E27FC236}">
                <a16:creationId xmlns:a16="http://schemas.microsoft.com/office/drawing/2014/main" id="{1EF9C332-00EA-D34C-9A3D-26D5D25D6ABD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60">
            <a:extLst>
              <a:ext uri="{FF2B5EF4-FFF2-40B4-BE49-F238E27FC236}">
                <a16:creationId xmlns:a16="http://schemas.microsoft.com/office/drawing/2014/main" id="{061DF69C-E09D-DF03-72DA-3BCA5C6B56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61">
            <a:extLst>
              <a:ext uri="{FF2B5EF4-FFF2-40B4-BE49-F238E27FC236}">
                <a16:creationId xmlns:a16="http://schemas.microsoft.com/office/drawing/2014/main" id="{AD6F0D76-0971-2D62-A8B4-5CA94FF38CE5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62">
            <a:extLst>
              <a:ext uri="{FF2B5EF4-FFF2-40B4-BE49-F238E27FC236}">
                <a16:creationId xmlns:a16="http://schemas.microsoft.com/office/drawing/2014/main" id="{09CCC726-E711-690B-E371-EF876315856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67">
            <a:extLst>
              <a:ext uri="{FF2B5EF4-FFF2-40B4-BE49-F238E27FC236}">
                <a16:creationId xmlns:a16="http://schemas.microsoft.com/office/drawing/2014/main" id="{6C48FE8E-08CE-5458-CFD4-9B0F14B56D4B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68">
            <a:extLst>
              <a:ext uri="{FF2B5EF4-FFF2-40B4-BE49-F238E27FC236}">
                <a16:creationId xmlns:a16="http://schemas.microsoft.com/office/drawing/2014/main" id="{6C3D49E7-1030-B49A-4F21-0B8A1021FE2E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69">
            <a:extLst>
              <a:ext uri="{FF2B5EF4-FFF2-40B4-BE49-F238E27FC236}">
                <a16:creationId xmlns:a16="http://schemas.microsoft.com/office/drawing/2014/main" id="{6AA9EFD4-93A3-F496-8632-5CFFA839E5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70">
            <a:extLst>
              <a:ext uri="{FF2B5EF4-FFF2-40B4-BE49-F238E27FC236}">
                <a16:creationId xmlns:a16="http://schemas.microsoft.com/office/drawing/2014/main" id="{11A2A68A-1FD9-3885-F6EA-06235B2A0BD3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71">
            <a:extLst>
              <a:ext uri="{FF2B5EF4-FFF2-40B4-BE49-F238E27FC236}">
                <a16:creationId xmlns:a16="http://schemas.microsoft.com/office/drawing/2014/main" id="{17140381-D796-BC30-B841-2AE580F9CAE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72">
            <a:extLst>
              <a:ext uri="{FF2B5EF4-FFF2-40B4-BE49-F238E27FC236}">
                <a16:creationId xmlns:a16="http://schemas.microsoft.com/office/drawing/2014/main" id="{4C4A4A53-A839-E5CF-45A8-213D79F20A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73">
            <a:extLst>
              <a:ext uri="{FF2B5EF4-FFF2-40B4-BE49-F238E27FC236}">
                <a16:creationId xmlns:a16="http://schemas.microsoft.com/office/drawing/2014/main" id="{79FB9D54-D156-657B-9618-FE6B001B44D8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74">
            <a:extLst>
              <a:ext uri="{FF2B5EF4-FFF2-40B4-BE49-F238E27FC236}">
                <a16:creationId xmlns:a16="http://schemas.microsoft.com/office/drawing/2014/main" id="{E9DE55BA-DFF2-7A0F-D40F-5F317347C66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75">
            <a:extLst>
              <a:ext uri="{FF2B5EF4-FFF2-40B4-BE49-F238E27FC236}">
                <a16:creationId xmlns:a16="http://schemas.microsoft.com/office/drawing/2014/main" id="{4480DC20-1AB6-38D0-3547-CFB4E97C64C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76">
            <a:extLst>
              <a:ext uri="{FF2B5EF4-FFF2-40B4-BE49-F238E27FC236}">
                <a16:creationId xmlns:a16="http://schemas.microsoft.com/office/drawing/2014/main" id="{9FA60426-B31B-256A-A738-9DC607571C1B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10">
            <a:extLst>
              <a:ext uri="{FF2B5EF4-FFF2-40B4-BE49-F238E27FC236}">
                <a16:creationId xmlns:a16="http://schemas.microsoft.com/office/drawing/2014/main" id="{9257DE8A-01FA-ADE8-E590-47DEF6446DB7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11">
            <a:extLst>
              <a:ext uri="{FF2B5EF4-FFF2-40B4-BE49-F238E27FC236}">
                <a16:creationId xmlns:a16="http://schemas.microsoft.com/office/drawing/2014/main" id="{09F7FFE8-A16B-111C-5B8F-AA0CC95011E7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29DFF8F4-1B8F-16CA-D3A0-454A58B8293D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B5B56C8B-8570-2C57-6452-A9804A78AF8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B48160AE-57A4-97C1-EE07-208F38E6647B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53" name="Freihandform: Form 7">
              <a:extLst>
                <a:ext uri="{FF2B5EF4-FFF2-40B4-BE49-F238E27FC236}">
                  <a16:creationId xmlns:a16="http://schemas.microsoft.com/office/drawing/2014/main" id="{43E5E13A-363E-3E6F-5007-505D9F28E1EC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4" name="Freihandform: Form 8">
              <a:extLst>
                <a:ext uri="{FF2B5EF4-FFF2-40B4-BE49-F238E27FC236}">
                  <a16:creationId xmlns:a16="http://schemas.microsoft.com/office/drawing/2014/main" id="{55AA1E6B-E69A-260F-EBAB-7B93EAC7DF8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5" name="Freihandform: Form 9">
              <a:extLst>
                <a:ext uri="{FF2B5EF4-FFF2-40B4-BE49-F238E27FC236}">
                  <a16:creationId xmlns:a16="http://schemas.microsoft.com/office/drawing/2014/main" id="{E31F9D80-AD28-AE5C-5735-5D29433AEAAB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6" name="Freihandform: Form 10">
              <a:extLst>
                <a:ext uri="{FF2B5EF4-FFF2-40B4-BE49-F238E27FC236}">
                  <a16:creationId xmlns:a16="http://schemas.microsoft.com/office/drawing/2014/main" id="{86D8AC8A-D951-8D58-D624-F52F26B14B8A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7" name="Freihandform: Form 11">
              <a:extLst>
                <a:ext uri="{FF2B5EF4-FFF2-40B4-BE49-F238E27FC236}">
                  <a16:creationId xmlns:a16="http://schemas.microsoft.com/office/drawing/2014/main" id="{1A50CBA4-122A-0963-38F7-A8C5676927C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8" name="Freihandform: Form 12">
              <a:extLst>
                <a:ext uri="{FF2B5EF4-FFF2-40B4-BE49-F238E27FC236}">
                  <a16:creationId xmlns:a16="http://schemas.microsoft.com/office/drawing/2014/main" id="{A91E27EF-1013-BF04-4A2E-0BDD2FDEA8C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9" name="Freihandform: Form 13">
              <a:extLst>
                <a:ext uri="{FF2B5EF4-FFF2-40B4-BE49-F238E27FC236}">
                  <a16:creationId xmlns:a16="http://schemas.microsoft.com/office/drawing/2014/main" id="{4BE8DCF4-8B13-CAB3-18DD-7A2A591CE70E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60" name="Textplatzhalter 8">
            <a:extLst>
              <a:ext uri="{FF2B5EF4-FFF2-40B4-BE49-F238E27FC236}">
                <a16:creationId xmlns:a16="http://schemas.microsoft.com/office/drawing/2014/main" id="{ECCDF84F-C76A-529B-66AE-D918AC03E3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8B08BFA5-BC47-3838-F3AE-55AC9D61AE9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1433002E-0CB2-9733-F7B4-308FF35CE57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64" name="Textplatzhalter 8">
            <a:extLst>
              <a:ext uri="{FF2B5EF4-FFF2-40B4-BE49-F238E27FC236}">
                <a16:creationId xmlns:a16="http://schemas.microsoft.com/office/drawing/2014/main" id="{4D7B80F6-0A35-7F81-446A-A204EC8390A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47E7EF37-F76A-DFC1-165F-86751D44E23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66" name="Textplatzhalter 8">
            <a:extLst>
              <a:ext uri="{FF2B5EF4-FFF2-40B4-BE49-F238E27FC236}">
                <a16:creationId xmlns:a16="http://schemas.microsoft.com/office/drawing/2014/main" id="{D214CCFE-E0BB-9E3C-28FC-4B5E2E3028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0FB2CD0-CCDF-B0CD-C77F-897583DAEFBE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72306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CB75D00-CFE8-404B-8913-D184C7324CDD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67888"/>
            <a:ext cx="7512175" cy="110799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03973" y="2529000"/>
            <a:ext cx="2520000" cy="180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DBC0B1D-A62C-445D-5230-B3BC0AC574D7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23D71192-94AA-7236-4A2A-478FA65C5DB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8">
              <a:extLst>
                <a:ext uri="{FF2B5EF4-FFF2-40B4-BE49-F238E27FC236}">
                  <a16:creationId xmlns:a16="http://schemas.microsoft.com/office/drawing/2014/main" id="{D15642D5-2FDB-AD9B-6882-ECD8DCB72BF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9">
              <a:extLst>
                <a:ext uri="{FF2B5EF4-FFF2-40B4-BE49-F238E27FC236}">
                  <a16:creationId xmlns:a16="http://schemas.microsoft.com/office/drawing/2014/main" id="{1CAAB3C1-9BBC-3D90-76D3-92977DA5B8E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7C6B0C19-FE89-6629-B5FA-1298C877C2A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55D8B4AF-6C31-3A0F-0D84-26A316ABC36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EF1694D6-3B2A-40D5-E25C-D1091A7ED5AE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BDA3701-1375-2069-2757-178E4976A0B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9D27EC1C-9FBE-0A6D-6650-8841C159BB4B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053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67D5A66-32F4-D8BD-0BBF-7AE539300F2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2192000" cy="6857957"/>
          </a:xfrm>
        </p:spPr>
        <p:txBody>
          <a:bodyPr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DD5F3C-CAE2-4E5A-A893-EADFA45F4272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67888"/>
            <a:ext cx="7512175" cy="110799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03973" y="2529000"/>
            <a:ext cx="2520000" cy="180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DBC0B1D-A62C-445D-5230-B3BC0AC574D7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23D71192-94AA-7236-4A2A-478FA65C5DB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8">
              <a:extLst>
                <a:ext uri="{FF2B5EF4-FFF2-40B4-BE49-F238E27FC236}">
                  <a16:creationId xmlns:a16="http://schemas.microsoft.com/office/drawing/2014/main" id="{D15642D5-2FDB-AD9B-6882-ECD8DCB72BF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9">
              <a:extLst>
                <a:ext uri="{FF2B5EF4-FFF2-40B4-BE49-F238E27FC236}">
                  <a16:creationId xmlns:a16="http://schemas.microsoft.com/office/drawing/2014/main" id="{1CAAB3C1-9BBC-3D90-76D3-92977DA5B8E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7C6B0C19-FE89-6629-B5FA-1298C877C2A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55D8B4AF-6C31-3A0F-0D84-26A316ABC36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EF1694D6-3B2A-40D5-E25C-D1091A7ED5AE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BDA3701-1375-2069-2757-178E4976A0B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88373133-B2FB-6F91-0472-589F9A1F116A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854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 + P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Person, Kleidung, Himmel, Mann enthält.&#10;&#10;Automatisch generierte Beschreibung">
            <a:extLst>
              <a:ext uri="{FF2B5EF4-FFF2-40B4-BE49-F238E27FC236}">
                <a16:creationId xmlns:a16="http://schemas.microsoft.com/office/drawing/2014/main" id="{C01CA1D9-83DF-0949-BC04-F3216F25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98"/>
            <a:ext cx="12192000" cy="6862198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8E6FA01-EB0B-4416-B4B2-14F2EB12FF2C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03973" y="2529000"/>
            <a:ext cx="2520000" cy="180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50B00A7E-6F7C-B1F5-4988-183176631AB2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5545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94DA1B53-4812-ED63-1A91-E4481339A94C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3804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9C6C782-A789-D8E9-6D69-44A906A6213F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BBFB1D9B-7492-40E9-BF7A-221E76D7333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5" name="Freihandform: Form 8">
              <a:extLst>
                <a:ext uri="{FF2B5EF4-FFF2-40B4-BE49-F238E27FC236}">
                  <a16:creationId xmlns:a16="http://schemas.microsoft.com/office/drawing/2014/main" id="{8305328E-4AEB-9624-1513-0C8BBC65110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7F9506D9-62BD-4CD6-7AB2-E61D75868D7A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9" name="Freihandform: Form 10">
              <a:extLst>
                <a:ext uri="{FF2B5EF4-FFF2-40B4-BE49-F238E27FC236}">
                  <a16:creationId xmlns:a16="http://schemas.microsoft.com/office/drawing/2014/main" id="{8AB0F1D4-2752-5FAD-A70F-C057D935D4ED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CE7EDFCF-C2E2-491C-4CE5-05992B7F319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CFD04483-162A-7508-11CA-7A6CCAA9E02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D60B856B-A09A-416A-42A7-54602DEBDE1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7282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8BC4A14C-B3C2-261D-9AA7-3E5406F7577B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4576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er 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27BFE406-582B-6754-6F4D-ED08A38180C6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3425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">
    <p:bg>
      <p:bgPr>
        <a:solidFill>
          <a:srgbClr val="FF4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TTENTION…">
            <a:extLst>
              <a:ext uri="{FF2B5EF4-FFF2-40B4-BE49-F238E27FC236}">
                <a16:creationId xmlns:a16="http://schemas.microsoft.com/office/drawing/2014/main" id="{C32A0A91-C761-BAF3-B496-78F4F984A827}"/>
              </a:ext>
            </a:extLst>
          </p:cNvPr>
          <p:cNvSpPr/>
          <p:nvPr userDrawn="1"/>
        </p:nvSpPr>
        <p:spPr>
          <a:xfrm>
            <a:off x="217068" y="184150"/>
            <a:ext cx="11757864" cy="648970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normAutofit/>
          </a:bodyPr>
          <a:lstStyle/>
          <a:p>
            <a:pPr algn="ctr" defTabSz="547687" hangingPunct="0">
              <a:defRPr sz="120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7200" b="1" kern="0">
                <a:solidFill>
                  <a:srgbClr val="000000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TTENTION</a:t>
            </a: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— This is not a template —</a:t>
            </a:r>
          </a:p>
          <a:p>
            <a:pPr algn="ctr" defTabSz="547687" hangingPunct="0">
              <a:defRPr sz="6400" spc="0">
                <a:solidFill>
                  <a:srgbClr val="FF2952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sz="4000" b="1" kern="0">
              <a:solidFill>
                <a:srgbClr val="FF2952"/>
              </a:solidFill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ll following pages were created by </a:t>
            </a:r>
            <a:b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</a:b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old or other presentations. </a:t>
            </a: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sz="2800" b="1" kern="0" spc="192">
              <a:solidFill>
                <a:srgbClr val="FFFFFF"/>
              </a:solidFill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algn="ctr" defTabSz="547687" hangingPunct="0">
              <a:defRPr sz="48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>
                <a:solidFill>
                  <a:srgbClr val="000000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Please delete or replace!</a:t>
            </a:r>
          </a:p>
        </p:txBody>
      </p:sp>
    </p:spTree>
    <p:extLst>
      <p:ext uri="{BB962C8B-B14F-4D97-AF65-F5344CB8AC3E}">
        <p14:creationId xmlns:p14="http://schemas.microsoft.com/office/powerpoint/2010/main" val="2729737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930C5135-8A2D-6711-0490-539052D953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4307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0C5135-8A2D-6711-0490-539052D95396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6165937-1047-4A6B-8FA7-97C559E71910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9" y="1692000"/>
            <a:ext cx="360107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12125" y="1692000"/>
            <a:ext cx="3587874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5149" y="1692000"/>
            <a:ext cx="3601076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41389E7-C206-CC53-58F7-E0B2474A546D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1" name="Freihandform: Form 7">
              <a:extLst>
                <a:ext uri="{FF2B5EF4-FFF2-40B4-BE49-F238E27FC236}">
                  <a16:creationId xmlns:a16="http://schemas.microsoft.com/office/drawing/2014/main" id="{3B66316F-D7AE-5C80-6961-137C42F7982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8">
              <a:extLst>
                <a:ext uri="{FF2B5EF4-FFF2-40B4-BE49-F238E27FC236}">
                  <a16:creationId xmlns:a16="http://schemas.microsoft.com/office/drawing/2014/main" id="{7838D151-34BC-3A48-DCE5-B984C13E69D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6E2CFB3C-F74C-53F7-BF06-83186102FAE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320DF243-5CD0-734A-F00C-DFA2CBB127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1">
              <a:extLst>
                <a:ext uri="{FF2B5EF4-FFF2-40B4-BE49-F238E27FC236}">
                  <a16:creationId xmlns:a16="http://schemas.microsoft.com/office/drawing/2014/main" id="{A4E53DCD-023B-D0C3-27E2-64528B368DF9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2">
              <a:extLst>
                <a:ext uri="{FF2B5EF4-FFF2-40B4-BE49-F238E27FC236}">
                  <a16:creationId xmlns:a16="http://schemas.microsoft.com/office/drawing/2014/main" id="{3968BC02-C322-420B-C35B-D88E99F7FA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3">
              <a:extLst>
                <a:ext uri="{FF2B5EF4-FFF2-40B4-BE49-F238E27FC236}">
                  <a16:creationId xmlns:a16="http://schemas.microsoft.com/office/drawing/2014/main" id="{8BFB3F2C-485F-6890-A4BD-5556CB1C9EC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C442FBD3-F01D-2961-707A-B34EB297D5D7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7247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2570">
          <p15:clr>
            <a:srgbClr val="FBAE40"/>
          </p15:clr>
        </p15:guide>
        <p15:guide id="3" pos="2706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A356BC8-69FD-481F-B2D9-26AA26E610F9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AE3628B-7343-E2B0-F3EB-D0D99C72DDF8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7" name="Freihandform: Form 7">
              <a:extLst>
                <a:ext uri="{FF2B5EF4-FFF2-40B4-BE49-F238E27FC236}">
                  <a16:creationId xmlns:a16="http://schemas.microsoft.com/office/drawing/2014/main" id="{76019355-2E86-A5D2-1AA0-F928AE3CFF1C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8" name="Freihandform: Form 8">
              <a:extLst>
                <a:ext uri="{FF2B5EF4-FFF2-40B4-BE49-F238E27FC236}">
                  <a16:creationId xmlns:a16="http://schemas.microsoft.com/office/drawing/2014/main" id="{9EB37735-A5ED-DC3A-B083-72D8165A307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EEBC9A7D-0747-E810-E09E-47E6186C813D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ED6984EE-BF18-AA54-241E-1E84D36935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11">
              <a:extLst>
                <a:ext uri="{FF2B5EF4-FFF2-40B4-BE49-F238E27FC236}">
                  <a16:creationId xmlns:a16="http://schemas.microsoft.com/office/drawing/2014/main" id="{84F058B2-B743-35B3-EC74-89CB3638377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B454BA3B-FE42-89F9-9951-95B12A41A86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7B7DD536-E6BE-40C9-FB61-BA5F7A87315B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8632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1F6C77-A554-4DAC-9C7E-839D60E3FE57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CB2DBA07-3B9B-2FAF-C7B2-FA710A08114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79968"/>
            <a:ext cx="11221200" cy="45267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6B45714-41C5-832C-B4EB-D43CF786D1F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97CE48E-21B9-1EE7-E23E-91CDFADD556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5F280EE2-5880-DC7B-223E-D449AAE85193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2C0DAE81-E456-EA5E-B03F-402D8175C0F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6F6E7643-F681-1284-38D6-824247B7DF3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1">
              <a:extLst>
                <a:ext uri="{FF2B5EF4-FFF2-40B4-BE49-F238E27FC236}">
                  <a16:creationId xmlns:a16="http://schemas.microsoft.com/office/drawing/2014/main" id="{FB9DA3E7-7EC8-8556-900F-F58EC52A0D5B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12">
              <a:extLst>
                <a:ext uri="{FF2B5EF4-FFF2-40B4-BE49-F238E27FC236}">
                  <a16:creationId xmlns:a16="http://schemas.microsoft.com/office/drawing/2014/main" id="{DE6610A4-AD84-2270-4E23-7ABF93CBABF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3">
              <a:extLst>
                <a:ext uri="{FF2B5EF4-FFF2-40B4-BE49-F238E27FC236}">
                  <a16:creationId xmlns:a16="http://schemas.microsoft.com/office/drawing/2014/main" id="{3C09A260-B841-7B4D-C6D5-6662C34B72F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97385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560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442878B-B6AD-4A00-952A-8E350AE70EF2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6CADF68B-C6C5-A86F-B33F-32C0376AB3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79968"/>
            <a:ext cx="5376672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C9D27699-89A2-4F50-073D-9891356402B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35902" y="1679968"/>
            <a:ext cx="5376672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C123F77-554D-4EB9-FE03-F18023F28474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3" name="Freihandform: Form 7">
              <a:extLst>
                <a:ext uri="{FF2B5EF4-FFF2-40B4-BE49-F238E27FC236}">
                  <a16:creationId xmlns:a16="http://schemas.microsoft.com/office/drawing/2014/main" id="{5E2C9FFB-6310-A9A1-BC8C-F08264CA30A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8">
              <a:extLst>
                <a:ext uri="{FF2B5EF4-FFF2-40B4-BE49-F238E27FC236}">
                  <a16:creationId xmlns:a16="http://schemas.microsoft.com/office/drawing/2014/main" id="{A6DC6423-875C-D423-D829-83E5797F7EB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9">
              <a:extLst>
                <a:ext uri="{FF2B5EF4-FFF2-40B4-BE49-F238E27FC236}">
                  <a16:creationId xmlns:a16="http://schemas.microsoft.com/office/drawing/2014/main" id="{B5FD52BD-5824-45C1-0764-60087462A21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321F9F29-ABD6-F81B-C6E7-12137A80D42B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6003DAE8-DB4C-02B3-CACD-BA379C987CE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21758ACE-0924-384D-5871-F54119CB2867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27A3B034-4B73-286B-51E7-C94C5CB8C64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68164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2B98783-5BB9-428E-8B97-617EAB929A48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B709CA62-8148-68CE-D276-92AFECC5232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79968"/>
            <a:ext cx="3429000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218D67EF-496D-9074-B88B-0C2253AC868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81498" y="1679968"/>
            <a:ext cx="3429000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DDB1FE69-ADAB-8504-D415-5DF1C3E5D87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283574" y="1679968"/>
            <a:ext cx="3429000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6CC5532-8406-25D8-70C9-83BA5400249B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4" name="Freihandform: Form 7">
              <a:extLst>
                <a:ext uri="{FF2B5EF4-FFF2-40B4-BE49-F238E27FC236}">
                  <a16:creationId xmlns:a16="http://schemas.microsoft.com/office/drawing/2014/main" id="{24EC720A-C4B1-47CE-810E-2964E5B31CE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212B7D56-DDD5-43F9-DBD2-40A32797F1F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1B450723-239D-370E-BCC8-D30703E7D22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10">
              <a:extLst>
                <a:ext uri="{FF2B5EF4-FFF2-40B4-BE49-F238E27FC236}">
                  <a16:creationId xmlns:a16="http://schemas.microsoft.com/office/drawing/2014/main" id="{0EF05CF4-5A71-677A-059E-C4075FB6F43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7D263832-F2EC-CDAC-C392-DCDD0BAF5DB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2">
              <a:extLst>
                <a:ext uri="{FF2B5EF4-FFF2-40B4-BE49-F238E27FC236}">
                  <a16:creationId xmlns:a16="http://schemas.microsoft.com/office/drawing/2014/main" id="{1B48B31D-DE60-291C-9680-5BF0F2EE677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3">
              <a:extLst>
                <a:ext uri="{FF2B5EF4-FFF2-40B4-BE49-F238E27FC236}">
                  <a16:creationId xmlns:a16="http://schemas.microsoft.com/office/drawing/2014/main" id="{7F5E4393-DDAC-AAE5-AD4C-78EE6231FDB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83063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345E7-B9B6-48F8-A865-37BBF4C2E2BF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24">
            <a:extLst>
              <a:ext uri="{FF2B5EF4-FFF2-40B4-BE49-F238E27FC236}">
                <a16:creationId xmlns:a16="http://schemas.microsoft.com/office/drawing/2014/main" id="{58617E68-E0C0-F3F9-B990-472389F432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79968"/>
            <a:ext cx="5376672" cy="2057400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B164CBDE-1B0E-B5CA-FB31-FACF4743EB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9424" y="4130560"/>
            <a:ext cx="5376672" cy="2057400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6437300F-ACA4-E316-44E7-09759419D0F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35902" y="1679968"/>
            <a:ext cx="5376672" cy="2057400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A28677B3-CF89-B91B-8593-1034C108346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35902" y="4130560"/>
            <a:ext cx="5376672" cy="2057400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20FC2E7-5753-F256-CE8E-558DBC761AC4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A0A2966-2BE1-94F2-9C6D-350C1192B0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05156697-2E82-2BD6-B248-A3FB470E158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1406C86D-1A0F-BD8E-445D-E98ED03582F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2E2DEF30-BEB1-19D1-FD61-87E817AEBC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CEB7AFD3-5D44-DEC0-1CD1-7CE59180A20B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32A60AC0-BB5F-4210-ADBB-0FB96C995E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55E7DD1D-A783-7FFA-79EC-A558669AB02B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23351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98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878F4F-C46E-4D51-909B-E2899BE768AA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95F00ED3-E6AE-4280-B629-A040103F67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6FAFE4DB-B6C1-6300-5F3E-95EE02FA59C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9424" y="1775816"/>
            <a:ext cx="2560320" cy="4507992"/>
          </a:xfrm>
          <a:solidFill>
            <a:schemeClr val="bg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32F1497-943A-8DF3-194F-3D3E0FBB8B0B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3" name="Freihandform: Form 7">
              <a:extLst>
                <a:ext uri="{FF2B5EF4-FFF2-40B4-BE49-F238E27FC236}">
                  <a16:creationId xmlns:a16="http://schemas.microsoft.com/office/drawing/2014/main" id="{9C92BBAE-507D-DB2B-B57E-D5EA93C6A16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8">
              <a:extLst>
                <a:ext uri="{FF2B5EF4-FFF2-40B4-BE49-F238E27FC236}">
                  <a16:creationId xmlns:a16="http://schemas.microsoft.com/office/drawing/2014/main" id="{D6F35774-BF81-160B-C1E3-121554C37B53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9">
              <a:extLst>
                <a:ext uri="{FF2B5EF4-FFF2-40B4-BE49-F238E27FC236}">
                  <a16:creationId xmlns:a16="http://schemas.microsoft.com/office/drawing/2014/main" id="{81E2A536-CD28-BF3C-9B6B-602643BCC8C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7666E824-396C-801C-0BE8-B77E8AC38C3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8C480F9C-2643-8148-A8A8-1E697EA0787B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823DAEB1-1494-2F6C-62E8-37379C96C234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92D1FA04-7A67-9E52-C752-4AC1E42FB38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82893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257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1963A7-7632-4FA3-8754-952198337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B024F94-D7C5-4151-97E7-2A5A6E20E888}" type="datetime1">
              <a:rPr lang="de-DE" smtClean="0"/>
              <a:t>03.06.25</a:t>
            </a:fld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96000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19999"/>
            <a:ext cx="1123315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6AF557A-497A-DD4D-B0D1-FD2F39486421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4">
            <a:extLst>
              <a:ext uri="{FF2B5EF4-FFF2-40B4-BE49-F238E27FC236}">
                <a16:creationId xmlns:a16="http://schemas.microsoft.com/office/drawing/2014/main" id="{95F00ED3-E6AE-4280-B629-A040103F67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Content Placeholder 24">
            <a:extLst>
              <a:ext uri="{FF2B5EF4-FFF2-40B4-BE49-F238E27FC236}">
                <a16:creationId xmlns:a16="http://schemas.microsoft.com/office/drawing/2014/main" id="{6FAFE4DB-B6C1-6300-5F3E-95EE02FA59C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152255" y="1775816"/>
            <a:ext cx="2560320" cy="4507992"/>
          </a:xfrm>
          <a:solidFill>
            <a:schemeClr val="bg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1520B8E-3F3F-07C2-5F01-BAA0D4CCBD46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3" name="Freihandform: Form 7">
              <a:extLst>
                <a:ext uri="{FF2B5EF4-FFF2-40B4-BE49-F238E27FC236}">
                  <a16:creationId xmlns:a16="http://schemas.microsoft.com/office/drawing/2014/main" id="{DE68CC8E-2143-4540-3DBA-4B416A823B7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8">
              <a:extLst>
                <a:ext uri="{FF2B5EF4-FFF2-40B4-BE49-F238E27FC236}">
                  <a16:creationId xmlns:a16="http://schemas.microsoft.com/office/drawing/2014/main" id="{CA4A58D6-95B8-4B56-D778-3B8D6053894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5" name="Freihandform: Form 9">
              <a:extLst>
                <a:ext uri="{FF2B5EF4-FFF2-40B4-BE49-F238E27FC236}">
                  <a16:creationId xmlns:a16="http://schemas.microsoft.com/office/drawing/2014/main" id="{4131DF1C-6A7D-A5E0-E2CC-A0BCC9C39A4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673BB354-4C35-E09C-FB5F-021225786A2B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3E3B5571-A5B6-ABB0-EE3E-8372CCB707E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BD934F67-447F-B183-F09D-E584A7C6B87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76327B5A-DFDB-D235-7576-C903A75BA37E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66902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760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87825" y="2806333"/>
            <a:ext cx="7512175" cy="1231106"/>
          </a:xfrm>
        </p:spPr>
        <p:txBody>
          <a:bodyPr vert="horz" lIns="0" tIns="0" rIns="0" bIns="0" anchor="ctr">
            <a:noAutofit/>
          </a:bodyPr>
          <a:lstStyle>
            <a:lvl1pPr algn="l">
              <a:defRPr sz="4000" b="1" cap="none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title</a:t>
            </a:r>
            <a:br>
              <a:rPr lang="de-DE"/>
            </a:br>
            <a:r>
              <a:rPr lang="de-DE"/>
              <a:t>36 </a:t>
            </a:r>
            <a:r>
              <a:rPr lang="de-DE" err="1"/>
              <a:t>pt</a:t>
            </a:r>
            <a:r>
              <a:rPr lang="de-DE"/>
              <a:t>. </a:t>
            </a:r>
            <a:r>
              <a:rPr lang="de-DE" err="1"/>
              <a:t>Bold</a:t>
            </a:r>
            <a:r>
              <a:rPr lang="de-DE"/>
              <a:t>, </a:t>
            </a:r>
            <a:r>
              <a:rPr lang="de-DE" err="1"/>
              <a:t>caps</a:t>
            </a:r>
            <a:r>
              <a:rPr lang="de-DE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30338" y="4880310"/>
            <a:ext cx="1026966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, 18 </a:t>
            </a:r>
            <a:r>
              <a:rPr lang="de-DE" err="1"/>
              <a:t>pt</a:t>
            </a:r>
            <a:r>
              <a:rPr lang="de-DE"/>
              <a:t>. Regular</a:t>
            </a:r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E4EC95D9-56E1-1A8F-CC61-F509EEC884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19EAB83-9410-4264-8422-7697568BD51C}" type="datetime1">
              <a:rPr lang="de-DE" smtClean="0"/>
              <a:t>03.06.25</a:t>
            </a:fld>
            <a:endParaRPr lang="de-DE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64DC44C-6FA3-3C98-5FC0-B15D6CBF4B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BA027B25-564E-404D-0F16-420BA85757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cxnSp>
        <p:nvCxnSpPr>
          <p:cNvPr id="12" name="Gerade Verbindung 17">
            <a:extLst>
              <a:ext uri="{FF2B5EF4-FFF2-40B4-BE49-F238E27FC236}">
                <a16:creationId xmlns:a16="http://schemas.microsoft.com/office/drawing/2014/main" id="{3F6094A7-EDF1-7435-5A87-CDC6261E8B8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3">
            <a:extLst>
              <a:ext uri="{FF2B5EF4-FFF2-40B4-BE49-F238E27FC236}">
                <a16:creationId xmlns:a16="http://schemas.microsoft.com/office/drawing/2014/main" id="{6970292C-2364-33E9-1A88-6A6FD1831096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8FC05EDE-8FA4-72F9-8BCC-D9CE3CE3B3D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DB0CBBC9-E56B-D41C-035B-E508ED0A27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DC513A36-AFE4-F2AB-6BA4-01750A597BF5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">
            <a:extLst>
              <a:ext uri="{FF2B5EF4-FFF2-40B4-BE49-F238E27FC236}">
                <a16:creationId xmlns:a16="http://schemas.microsoft.com/office/drawing/2014/main" id="{35B385EC-90EF-885D-628C-903C4EA422C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86642104-B099-D223-43ED-CE7875DEFB2D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DB1B38B-3AA4-9603-4051-8E5220A1AF0D}"/>
              </a:ext>
            </a:extLst>
          </p:cNvPr>
          <p:cNvSpPr/>
          <p:nvPr userDrawn="1"/>
        </p:nvSpPr>
        <p:spPr>
          <a:xfrm>
            <a:off x="1430337" y="2528999"/>
            <a:ext cx="2493635" cy="17999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06E3A36-EF8D-C862-8A98-47897405EC63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9" name="Freihandform: Form 7">
              <a:extLst>
                <a:ext uri="{FF2B5EF4-FFF2-40B4-BE49-F238E27FC236}">
                  <a16:creationId xmlns:a16="http://schemas.microsoft.com/office/drawing/2014/main" id="{11442A60-68D2-B5B4-C0D8-7A62B114807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6082108F-C97F-E0E7-A715-BBCE85B1BDA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C2534F00-F98C-FDA2-EF5D-9687889E6BD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id="{8D171BFD-11CF-92A9-5963-F40B248F587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79586967-5359-1D78-8CBE-58568D73C5E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87527593-0555-0A66-6020-E673B5DB639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7" name="Freihandform: Form 13">
              <a:extLst>
                <a:ext uri="{FF2B5EF4-FFF2-40B4-BE49-F238E27FC236}">
                  <a16:creationId xmlns:a16="http://schemas.microsoft.com/office/drawing/2014/main" id="{4658DD25-FB0D-977A-3B16-A03941F5FC99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50572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1253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>
                <a:solidFill>
                  <a:schemeClr val="accent1"/>
                </a:solidFill>
              </a:rPr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wrap="none" lIns="0" tIns="0" rIns="0" bIns="0" anchor="b" anchorCtr="0">
            <a:spAutoFit/>
          </a:bodyPr>
          <a:lstStyle>
            <a:lvl1pPr algn="l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 +49 XXXX XXX XX </a:t>
            </a:r>
            <a:r>
              <a:rPr lang="de-DE" err="1"/>
              <a:t>XX</a:t>
            </a:r>
            <a:br>
              <a:rPr lang="de-DE"/>
            </a:br>
            <a:r>
              <a:rPr lang="de-DE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de-DE" sz="1400" err="1">
                <a:solidFill>
                  <a:schemeClr val="tx1"/>
                </a:solidFill>
              </a:rPr>
              <a:t>www.senacor.com</a:t>
            </a: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 +49 XXXX XXX XX </a:t>
            </a:r>
            <a:r>
              <a:rPr lang="de-DE" err="1"/>
              <a:t>XX</a:t>
            </a:r>
            <a:br>
              <a:rPr lang="de-DE"/>
            </a:br>
            <a:r>
              <a:rPr lang="de-DE"/>
              <a:t>vorname.nachname@senacor.com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906CD084-DDEE-7593-4A35-7C69D84202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9423" y="6555600"/>
            <a:ext cx="662400" cy="122400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3BE012-890B-4B96-A3B1-F8620E12FB27}" type="datetime1">
              <a:rPr lang="de-DE" smtClean="0"/>
              <a:t>03.06.25</a:t>
            </a:fld>
            <a:endParaRPr lang="de-DE"/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EB77D577-C22F-5CA0-6848-812F840F22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wrap="none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D3D4E163-3C86-F095-C0BE-6BB2D56DA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1623600" y="6554889"/>
            <a:ext cx="8964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ngebot GLKB-01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4CA81DB-105D-76FA-9A36-342093667FF8}"/>
              </a:ext>
            </a:extLst>
          </p:cNvPr>
          <p:cNvSpPr/>
          <p:nvPr userDrawn="1"/>
        </p:nvSpPr>
        <p:spPr>
          <a:xfrm>
            <a:off x="2752945" y="-286585"/>
            <a:ext cx="6686110" cy="223446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o not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FB40790-D7D9-9A05-0A6C-2B08C7FE5FAF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3" name="Freihandform: Form 7">
              <a:extLst>
                <a:ext uri="{FF2B5EF4-FFF2-40B4-BE49-F238E27FC236}">
                  <a16:creationId xmlns:a16="http://schemas.microsoft.com/office/drawing/2014/main" id="{7D9E2B77-1AE9-8829-D7C7-26B065701F75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4" name="Freihandform: Form 8">
              <a:extLst>
                <a:ext uri="{FF2B5EF4-FFF2-40B4-BE49-F238E27FC236}">
                  <a16:creationId xmlns:a16="http://schemas.microsoft.com/office/drawing/2014/main" id="{9E3A2FB7-2DFC-6A9E-7E9C-081A24F7FF4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5" name="Freihandform: Form 9">
              <a:extLst>
                <a:ext uri="{FF2B5EF4-FFF2-40B4-BE49-F238E27FC236}">
                  <a16:creationId xmlns:a16="http://schemas.microsoft.com/office/drawing/2014/main" id="{5757F662-BF2D-433E-C647-B5A5583C243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8" name="Freihandform: Form 10">
              <a:extLst>
                <a:ext uri="{FF2B5EF4-FFF2-40B4-BE49-F238E27FC236}">
                  <a16:creationId xmlns:a16="http://schemas.microsoft.com/office/drawing/2014/main" id="{CEC5C0B1-F0C7-FA1C-3E39-AFEA92D1010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9" name="Freihandform: Form 11">
              <a:extLst>
                <a:ext uri="{FF2B5EF4-FFF2-40B4-BE49-F238E27FC236}">
                  <a16:creationId xmlns:a16="http://schemas.microsoft.com/office/drawing/2014/main" id="{D0C3EC72-379B-D179-5A96-78017F383A8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30" name="Freihandform: Form 12">
              <a:extLst>
                <a:ext uri="{FF2B5EF4-FFF2-40B4-BE49-F238E27FC236}">
                  <a16:creationId xmlns:a16="http://schemas.microsoft.com/office/drawing/2014/main" id="{314C95FD-BD41-826A-6A70-741F80737A5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31" name="Freihandform: Form 13">
              <a:extLst>
                <a:ext uri="{FF2B5EF4-FFF2-40B4-BE49-F238E27FC236}">
                  <a16:creationId xmlns:a16="http://schemas.microsoft.com/office/drawing/2014/main" id="{BACE938C-AD2B-4F42-79CE-56D902739D8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91093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ictur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75BA6B-F8C2-E807-8022-A1B4DE60EA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i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28849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95A01BE-687A-73AA-CDAA-6AF5D6EE4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81469"/>
            <a:ext cx="11233149" cy="492443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3854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A660766A-2655-C607-F4E3-1F3CAF378E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29593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60766A-2655-C607-F4E3-1F3CAF378E38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7F927F3-3151-4949-96F7-5686A859F0A3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9" y="1692000"/>
            <a:ext cx="2700964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012237" y="1692000"/>
            <a:ext cx="2687761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24225" y="1692000"/>
            <a:ext cx="2700962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6813" y="1692000"/>
            <a:ext cx="2700962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228E40-D794-D694-384B-F6E414E46183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4F9AD7A3-6B92-B962-66D4-56529CEB423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B6C2D284-D6E3-C393-3BCD-5573759A49B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D33A480-49E8-2C44-10D1-7C3CFE1447B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D3027B3C-05C3-3966-E0B0-684DD50369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28241F37-E0B6-1A46-0543-9AD2EFA5720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51127DB7-B1B7-1561-9E3A-0B13F8B46C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40FF7EBE-37E0-A6B6-7D55-4C92EB62994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E3B274DC-4B10-CD1A-7D04-8C3A5B2C92B1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411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86">
          <p15:clr>
            <a:srgbClr val="FBAE40"/>
          </p15:clr>
        </p15:guide>
        <p15:guide id="2" pos="2003">
          <p15:clr>
            <a:srgbClr val="FBAE40"/>
          </p15:clr>
        </p15:guide>
        <p15:guide id="3" pos="2094">
          <p15:clr>
            <a:srgbClr val="FBAE40"/>
          </p15:clr>
        </p15:guide>
        <p15:guide id="4" pos="5677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Pictur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Schwarzweiß, monochrom, monochrome Fotografie, Schild enthält.&#10;&#10;Automatisch generierte Beschreibung">
            <a:extLst>
              <a:ext uri="{FF2B5EF4-FFF2-40B4-BE49-F238E27FC236}">
                <a16:creationId xmlns:a16="http://schemas.microsoft.com/office/drawing/2014/main" id="{2D68E061-2E16-5B27-E16E-733B5BD665DF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i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18086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30F8B86-4730-D72D-10A3-7F0D936B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64125"/>
            <a:ext cx="11233149" cy="492443"/>
          </a:xfrm>
        </p:spPr>
        <p:txBody>
          <a:bodyPr/>
          <a:lstStyle>
            <a:lvl1pPr algn="l"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3307714-6AE3-C649-A88C-B1E0A00E7E91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5CD0350E-1B4B-93C5-4042-6D7DD1480FD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7" name="Freihandform: Form 8">
              <a:extLst>
                <a:ext uri="{FF2B5EF4-FFF2-40B4-BE49-F238E27FC236}">
                  <a16:creationId xmlns:a16="http://schemas.microsoft.com/office/drawing/2014/main" id="{572C2126-4CA4-8173-7328-15F408CFAA6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8" name="Freihandform: Form 9">
              <a:extLst>
                <a:ext uri="{FF2B5EF4-FFF2-40B4-BE49-F238E27FC236}">
                  <a16:creationId xmlns:a16="http://schemas.microsoft.com/office/drawing/2014/main" id="{6BF00576-4CC5-D53B-E741-361ECBFE81C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F4B419BC-DDB3-61FE-AF01-6B26F9531D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A640000B-04B7-F422-4771-FF1C595C752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6A18C08D-4905-EB9A-3B0B-2BFEE313EE8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19F995E3-9E0F-CB57-7890-33D13EEA470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0782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66FAA7F-3CD0-4DC3-9ED6-0272CCD3692E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6155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br>
              <a:rPr lang="de-DE"/>
            </a:b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88083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CC6D358-D42E-4B51-8B9A-E544CA0524CA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11221200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6155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br>
              <a:rPr lang="de-DE"/>
            </a:b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91903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C7D9D3-BF78-450D-A0AD-2E62EDB14322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3775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5496049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03952" y="1692000"/>
            <a:ext cx="549604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93C8C1C-2CC6-6DEE-EF9E-7F5C5BF31FD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F083DEB7-F224-116E-0238-AEF1309B38F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68A53D3E-9E01-3468-B213-96080B320B1F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DD6E4A1B-0662-1D07-6A65-8F0E2714377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DC2CB2CB-CE02-0F83-42B1-FD861F68892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B1097272-963D-F850-DA73-0861BE345BA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046D208F-D9FD-2427-BA4F-97350D7EA8B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9ABA535F-AD05-A922-B937-10974F80A01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9375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377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D55822C-0388-465E-8D1B-E1BB1CE8B13F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9" y="1692000"/>
            <a:ext cx="360107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12125" y="1692000"/>
            <a:ext cx="3587874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5149" y="1692000"/>
            <a:ext cx="3601076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41389E7-C206-CC53-58F7-E0B2474A546D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1" name="Freihandform: Form 7">
              <a:extLst>
                <a:ext uri="{FF2B5EF4-FFF2-40B4-BE49-F238E27FC236}">
                  <a16:creationId xmlns:a16="http://schemas.microsoft.com/office/drawing/2014/main" id="{3B66316F-D7AE-5C80-6961-137C42F7982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8">
              <a:extLst>
                <a:ext uri="{FF2B5EF4-FFF2-40B4-BE49-F238E27FC236}">
                  <a16:creationId xmlns:a16="http://schemas.microsoft.com/office/drawing/2014/main" id="{7838D151-34BC-3A48-DCE5-B984C13E69D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6E2CFB3C-F74C-53F7-BF06-83186102FAE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320DF243-5CD0-734A-F00C-DFA2CBB127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1">
              <a:extLst>
                <a:ext uri="{FF2B5EF4-FFF2-40B4-BE49-F238E27FC236}">
                  <a16:creationId xmlns:a16="http://schemas.microsoft.com/office/drawing/2014/main" id="{A4E53DCD-023B-D0C3-27E2-64528B368DF9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2">
              <a:extLst>
                <a:ext uri="{FF2B5EF4-FFF2-40B4-BE49-F238E27FC236}">
                  <a16:creationId xmlns:a16="http://schemas.microsoft.com/office/drawing/2014/main" id="{3968BC02-C322-420B-C35B-D88E99F7FA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3">
              <a:extLst>
                <a:ext uri="{FF2B5EF4-FFF2-40B4-BE49-F238E27FC236}">
                  <a16:creationId xmlns:a16="http://schemas.microsoft.com/office/drawing/2014/main" id="{8BFB3F2C-485F-6890-A4BD-5556CB1C9EC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950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2570">
          <p15:clr>
            <a:srgbClr val="FBAE40"/>
          </p15:clr>
        </p15:guide>
        <p15:guide id="3" pos="2706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716162C-8C65-4142-A038-1973425609A0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9" y="1692000"/>
            <a:ext cx="2700964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012237" y="1692000"/>
            <a:ext cx="2687761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24225" y="1692000"/>
            <a:ext cx="2700962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6813" y="1692000"/>
            <a:ext cx="2700962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228E40-D794-D694-384B-F6E414E46183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4F9AD7A3-6B92-B962-66D4-56529CEB423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B6C2D284-D6E3-C393-3BCD-5573759A49B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D33A480-49E8-2C44-10D1-7C3CFE1447B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D3027B3C-05C3-3966-E0B0-684DD50369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28241F37-E0B6-1A46-0543-9AD2EFA5720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51127DB7-B1B7-1561-9E3A-0B13F8B46C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40FF7EBE-37E0-A6B6-7D55-4C92EB62994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2821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86">
          <p15:clr>
            <a:srgbClr val="FBAE40"/>
          </p15:clr>
        </p15:guide>
        <p15:guide id="2" pos="2003">
          <p15:clr>
            <a:srgbClr val="FBAE40"/>
          </p15:clr>
        </p15:guide>
        <p15:guide id="3" pos="2094">
          <p15:clr>
            <a:srgbClr val="FBAE40"/>
          </p15:clr>
        </p15:guide>
        <p15:guide id="4" pos="5677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C3524B5-1061-4B62-B103-3CD7363D759F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1999"/>
            <a:ext cx="2124698" cy="451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86800" y="1692000"/>
            <a:ext cx="211149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16500" y="1692000"/>
            <a:ext cx="2158999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32539" y="1692000"/>
            <a:ext cx="211149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201F4E4-054B-6F4E-30C8-650F5084718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747962" y="1692000"/>
            <a:ext cx="2124075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8B4EFDC3-B9F7-E62A-A537-0C40C94C565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3" name="Freihandform: Form 7">
              <a:extLst>
                <a:ext uri="{FF2B5EF4-FFF2-40B4-BE49-F238E27FC236}">
                  <a16:creationId xmlns:a16="http://schemas.microsoft.com/office/drawing/2014/main" id="{FCEB906B-A7D0-1E04-8749-83E97118CA9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8">
              <a:extLst>
                <a:ext uri="{FF2B5EF4-FFF2-40B4-BE49-F238E27FC236}">
                  <a16:creationId xmlns:a16="http://schemas.microsoft.com/office/drawing/2014/main" id="{91095A8B-BE50-720F-38CE-E4B69E9CFE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C882C585-A167-5A5E-466F-69934B94584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0">
              <a:extLst>
                <a:ext uri="{FF2B5EF4-FFF2-40B4-BE49-F238E27FC236}">
                  <a16:creationId xmlns:a16="http://schemas.microsoft.com/office/drawing/2014/main" id="{B5F34BE9-878F-53C2-C0A5-2440A026896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96D671C3-7856-2EE9-F350-AC02E1532A0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2">
              <a:extLst>
                <a:ext uri="{FF2B5EF4-FFF2-40B4-BE49-F238E27FC236}">
                  <a16:creationId xmlns:a16="http://schemas.microsoft.com/office/drawing/2014/main" id="{FEE10419-05AF-A2EA-5ABC-82BB32B1BB2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3">
              <a:extLst>
                <a:ext uri="{FF2B5EF4-FFF2-40B4-BE49-F238E27FC236}">
                  <a16:creationId xmlns:a16="http://schemas.microsoft.com/office/drawing/2014/main" id="{AA8D1F5E-F0A0-E36C-9C04-FF6293C0F75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2907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40">
          <p15:clr>
            <a:srgbClr val="FBAE40"/>
          </p15:clr>
        </p15:guide>
        <p15:guide id="2" pos="1640">
          <p15:clr>
            <a:srgbClr val="FBAE40"/>
          </p15:clr>
        </p15:guide>
        <p15:guide id="3" pos="1731">
          <p15:clr>
            <a:srgbClr val="FBAE40"/>
          </p15:clr>
        </p15:guide>
        <p15:guide id="4" pos="5949">
          <p15:clr>
            <a:srgbClr val="FBAE40"/>
          </p15:clr>
        </p15:guide>
        <p15:guide id="5" pos="3160">
          <p15:clr>
            <a:srgbClr val="FBAE40"/>
          </p15:clr>
        </p15:guide>
        <p15:guide id="6" pos="3069">
          <p15:clr>
            <a:srgbClr val="FBAE40"/>
          </p15:clr>
        </p15:guide>
        <p15:guide id="7" pos="4520">
          <p15:clr>
            <a:srgbClr val="FBAE40"/>
          </p15:clr>
        </p15:guide>
        <p15:guide id="8" pos="461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0B327BD-8430-4D4E-B2FC-116DBA7C5D7F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3601076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12125" y="1692000"/>
            <a:ext cx="36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5149" y="1692000"/>
            <a:ext cx="3601076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D068EBBA-B8C8-BACC-A874-07A95FA384F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20063" y="4032000"/>
            <a:ext cx="36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91EAF0C-C8EF-FF54-89B6-A61F05488EF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7" name="Freihandform: Form 7">
              <a:extLst>
                <a:ext uri="{FF2B5EF4-FFF2-40B4-BE49-F238E27FC236}">
                  <a16:creationId xmlns:a16="http://schemas.microsoft.com/office/drawing/2014/main" id="{0CB1BE2F-7784-9A9E-DF54-A19B00488CD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8">
              <a:extLst>
                <a:ext uri="{FF2B5EF4-FFF2-40B4-BE49-F238E27FC236}">
                  <a16:creationId xmlns:a16="http://schemas.microsoft.com/office/drawing/2014/main" id="{D943CACF-5D02-F7AF-3061-D76AA4F0710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9">
              <a:extLst>
                <a:ext uri="{FF2B5EF4-FFF2-40B4-BE49-F238E27FC236}">
                  <a16:creationId xmlns:a16="http://schemas.microsoft.com/office/drawing/2014/main" id="{4BB87B65-7759-B46A-5C87-78E8581EBC6B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0">
              <a:extLst>
                <a:ext uri="{FF2B5EF4-FFF2-40B4-BE49-F238E27FC236}">
                  <a16:creationId xmlns:a16="http://schemas.microsoft.com/office/drawing/2014/main" id="{319C74BD-C9A9-EE0C-929A-E2DE316EF4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1">
              <a:extLst>
                <a:ext uri="{FF2B5EF4-FFF2-40B4-BE49-F238E27FC236}">
                  <a16:creationId xmlns:a16="http://schemas.microsoft.com/office/drawing/2014/main" id="{514AF8FA-3761-B95B-36F6-B3B93B57FF8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2">
              <a:extLst>
                <a:ext uri="{FF2B5EF4-FFF2-40B4-BE49-F238E27FC236}">
                  <a16:creationId xmlns:a16="http://schemas.microsoft.com/office/drawing/2014/main" id="{36547CBB-B272-BA61-48CA-BBA4D777621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ihandform: Form 13">
              <a:extLst>
                <a:ext uri="{FF2B5EF4-FFF2-40B4-BE49-F238E27FC236}">
                  <a16:creationId xmlns:a16="http://schemas.microsoft.com/office/drawing/2014/main" id="{044A1871-744E-DCAA-1181-EFE93BD5905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Inhaltsplatzhalter 9">
            <a:extLst>
              <a:ext uri="{FF2B5EF4-FFF2-40B4-BE49-F238E27FC236}">
                <a16:creationId xmlns:a16="http://schemas.microsoft.com/office/drawing/2014/main" id="{84ACD17D-69B1-0D31-0E70-D5919815A6E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9425" y="4032000"/>
            <a:ext cx="3600449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1" name="Inhaltsplatzhalter 11">
            <a:extLst>
              <a:ext uri="{FF2B5EF4-FFF2-40B4-BE49-F238E27FC236}">
                <a16:creationId xmlns:a16="http://schemas.microsoft.com/office/drawing/2014/main" id="{C9E91A7D-A34B-FFA0-14CD-49796D5FB60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95775" y="4032000"/>
            <a:ext cx="360045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3007813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2570">
          <p15:clr>
            <a:srgbClr val="FBAE40"/>
          </p15:clr>
        </p15:guide>
        <p15:guide id="3" pos="2706">
          <p15:clr>
            <a:srgbClr val="FBAE40"/>
          </p15:clr>
        </p15:guide>
        <p15:guide id="4" pos="5110">
          <p15:clr>
            <a:srgbClr val="FBAE40"/>
          </p15:clr>
        </p15:guide>
        <p15:guide id="5" orient="horz" pos="2432">
          <p15:clr>
            <a:srgbClr val="FBAE40"/>
          </p15:clr>
        </p15:guide>
        <p15:guide id="6" orient="horz" pos="2568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55E50FA-290D-4B7E-B73F-0835131DB36E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012236" y="1692000"/>
            <a:ext cx="27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24225" y="169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6813" y="1692000"/>
            <a:ext cx="27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228E40-D794-D694-384B-F6E414E46183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4F9AD7A3-6B92-B962-66D4-56529CEB423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B6C2D284-D6E3-C393-3BCD-5573759A49B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D33A480-49E8-2C44-10D1-7C3CFE1447B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D3027B3C-05C3-3966-E0B0-684DD50369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28241F37-E0B6-1A46-0543-9AD2EFA5720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51127DB7-B1B7-1561-9E3A-0B13F8B46C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40FF7EBE-37E0-A6B6-7D55-4C92EB62994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Inhaltsplatzhalter 27">
            <a:extLst>
              <a:ext uri="{FF2B5EF4-FFF2-40B4-BE49-F238E27FC236}">
                <a16:creationId xmlns:a16="http://schemas.microsoft.com/office/drawing/2014/main" id="{6832BC50-CB14-A9FF-356C-FA925C21D70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841" y="403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0" name="Inhaltsplatzhalter 29">
            <a:extLst>
              <a:ext uri="{FF2B5EF4-FFF2-40B4-BE49-F238E27FC236}">
                <a16:creationId xmlns:a16="http://schemas.microsoft.com/office/drawing/2014/main" id="{C39AA555-B072-B329-BB31-96116F1479A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24225" y="4032000"/>
            <a:ext cx="2700338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31">
            <a:extLst>
              <a:ext uri="{FF2B5EF4-FFF2-40B4-BE49-F238E27FC236}">
                <a16:creationId xmlns:a16="http://schemas.microsoft.com/office/drawing/2014/main" id="{0D398196-4C4F-14C8-5746-4E3B2100FE1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67438" y="4032000"/>
            <a:ext cx="2699375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2" name="Inhaltsplatzhalter 33">
            <a:extLst>
              <a:ext uri="{FF2B5EF4-FFF2-40B4-BE49-F238E27FC236}">
                <a16:creationId xmlns:a16="http://schemas.microsoft.com/office/drawing/2014/main" id="{6A63AFE8-A5D7-3EDC-B0C1-3DC44C1D10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12236" y="4032000"/>
            <a:ext cx="2700339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4170010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86">
          <p15:clr>
            <a:srgbClr val="FBAE40"/>
          </p15:clr>
        </p15:guide>
        <p15:guide id="2" pos="2003">
          <p15:clr>
            <a:srgbClr val="FBAE40"/>
          </p15:clr>
        </p15:guide>
        <p15:guide id="3" pos="2094">
          <p15:clr>
            <a:srgbClr val="FBAE40"/>
          </p15:clr>
        </p15:guide>
        <p15:guide id="4" pos="5677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orient="horz" pos="2432">
          <p15:clr>
            <a:srgbClr val="FBAE40"/>
          </p15:clr>
        </p15:guide>
        <p15:guide id="8" orient="horz" pos="2568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3BF96EB-1003-4A3A-A213-171B4DEB64D3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53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7525375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BFF90CE-A2FF-C02C-F80D-4DE000A6C398}"/>
              </a:ext>
            </a:extLst>
          </p:cNvPr>
          <p:cNvSpPr/>
          <p:nvPr userDrawn="1"/>
        </p:nvSpPr>
        <p:spPr>
          <a:xfrm>
            <a:off x="8232000" y="0"/>
            <a:ext cx="3960000" cy="6858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25B8628-142D-7ED1-68D7-25FD892A12F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435975" y="1692000"/>
            <a:ext cx="3264025" cy="4500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3C70CF-753F-D510-E895-E3CFD6EB45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8" name="Freihandform: Form 7">
              <a:extLst>
                <a:ext uri="{FF2B5EF4-FFF2-40B4-BE49-F238E27FC236}">
                  <a16:creationId xmlns:a16="http://schemas.microsoft.com/office/drawing/2014/main" id="{5CDB7669-1DB2-0FAC-F801-24DEB2DD274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8">
              <a:extLst>
                <a:ext uri="{FF2B5EF4-FFF2-40B4-BE49-F238E27FC236}">
                  <a16:creationId xmlns:a16="http://schemas.microsoft.com/office/drawing/2014/main" id="{27FB14C3-E947-F413-8FD2-A7AF1E7989E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9">
              <a:extLst>
                <a:ext uri="{FF2B5EF4-FFF2-40B4-BE49-F238E27FC236}">
                  <a16:creationId xmlns:a16="http://schemas.microsoft.com/office/drawing/2014/main" id="{28A2959C-3FEE-8DF2-EE48-3A24798455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10">
              <a:extLst>
                <a:ext uri="{FF2B5EF4-FFF2-40B4-BE49-F238E27FC236}">
                  <a16:creationId xmlns:a16="http://schemas.microsoft.com/office/drawing/2014/main" id="{795D6829-EB25-0728-76A8-AB446BA22CE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1">
              <a:extLst>
                <a:ext uri="{FF2B5EF4-FFF2-40B4-BE49-F238E27FC236}">
                  <a16:creationId xmlns:a16="http://schemas.microsoft.com/office/drawing/2014/main" id="{0B852306-ADD4-B60B-EC90-CC7B5907D9C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2">
              <a:extLst>
                <a:ext uri="{FF2B5EF4-FFF2-40B4-BE49-F238E27FC236}">
                  <a16:creationId xmlns:a16="http://schemas.microsoft.com/office/drawing/2014/main" id="{5F3B4D96-3417-D8F2-FD63-C5B77B61045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3">
              <a:extLst>
                <a:ext uri="{FF2B5EF4-FFF2-40B4-BE49-F238E27FC236}">
                  <a16:creationId xmlns:a16="http://schemas.microsoft.com/office/drawing/2014/main" id="{B82861F6-CFA3-DF75-5B2D-72F5B0766AF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1932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42">
          <p15:clr>
            <a:srgbClr val="FBAE40"/>
          </p15:clr>
        </p15:guide>
        <p15:guide id="3" pos="5178">
          <p15:clr>
            <a:srgbClr val="FBAE40"/>
          </p15:clr>
        </p15:guide>
        <p15:guide id="4" pos="531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A3ED82A2-0E7B-0EEB-2928-27181D9117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5559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D82A2-0E7B-0EEB-2928-27181D911745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71C20CF-687B-4B0E-BA78-E67D7C306E75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1999"/>
            <a:ext cx="2124698" cy="451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86800" y="1692000"/>
            <a:ext cx="211149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16500" y="1692000"/>
            <a:ext cx="2158999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32539" y="1692000"/>
            <a:ext cx="211149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201F4E4-054B-6F4E-30C8-650F5084718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747962" y="1692000"/>
            <a:ext cx="2124075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8B4EFDC3-B9F7-E62A-A537-0C40C94C565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3" name="Freihandform: Form 7">
              <a:extLst>
                <a:ext uri="{FF2B5EF4-FFF2-40B4-BE49-F238E27FC236}">
                  <a16:creationId xmlns:a16="http://schemas.microsoft.com/office/drawing/2014/main" id="{FCEB906B-A7D0-1E04-8749-83E97118CA9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8">
              <a:extLst>
                <a:ext uri="{FF2B5EF4-FFF2-40B4-BE49-F238E27FC236}">
                  <a16:creationId xmlns:a16="http://schemas.microsoft.com/office/drawing/2014/main" id="{91095A8B-BE50-720F-38CE-E4B69E9CFE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C882C585-A167-5A5E-466F-69934B94584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0">
              <a:extLst>
                <a:ext uri="{FF2B5EF4-FFF2-40B4-BE49-F238E27FC236}">
                  <a16:creationId xmlns:a16="http://schemas.microsoft.com/office/drawing/2014/main" id="{B5F34BE9-878F-53C2-C0A5-2440A026896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96D671C3-7856-2EE9-F350-AC02E1532A0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2">
              <a:extLst>
                <a:ext uri="{FF2B5EF4-FFF2-40B4-BE49-F238E27FC236}">
                  <a16:creationId xmlns:a16="http://schemas.microsoft.com/office/drawing/2014/main" id="{FEE10419-05AF-A2EA-5ABC-82BB32B1BB2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3">
              <a:extLst>
                <a:ext uri="{FF2B5EF4-FFF2-40B4-BE49-F238E27FC236}">
                  <a16:creationId xmlns:a16="http://schemas.microsoft.com/office/drawing/2014/main" id="{AA8D1F5E-F0A0-E36C-9C04-FF6293C0F75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EF5AFB57-808E-CE19-3E9F-87B3D2EFF18F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65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40">
          <p15:clr>
            <a:srgbClr val="FBAE40"/>
          </p15:clr>
        </p15:guide>
        <p15:guide id="2" pos="1640">
          <p15:clr>
            <a:srgbClr val="FBAE40"/>
          </p15:clr>
        </p15:guide>
        <p15:guide id="3" pos="1731">
          <p15:clr>
            <a:srgbClr val="FBAE40"/>
          </p15:clr>
        </p15:guide>
        <p15:guide id="4" pos="5949">
          <p15:clr>
            <a:srgbClr val="FBAE40"/>
          </p15:clr>
        </p15:guide>
        <p15:guide id="5" pos="3160">
          <p15:clr>
            <a:srgbClr val="FBAE40"/>
          </p15:clr>
        </p15:guide>
        <p15:guide id="6" pos="3069">
          <p15:clr>
            <a:srgbClr val="FBAE40"/>
          </p15:clr>
        </p15:guide>
        <p15:guide id="7" pos="4520">
          <p15:clr>
            <a:srgbClr val="FBAE40"/>
          </p15:clr>
        </p15:guide>
        <p15:guide id="8" pos="461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 Smal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181667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FFF51C4-D73F-4BC0-B4AD-B46556A8323D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9181667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9181667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BFF90CE-A2FF-C02C-F80D-4DE000A6C398}"/>
              </a:ext>
            </a:extLst>
          </p:cNvPr>
          <p:cNvSpPr/>
          <p:nvPr userDrawn="1"/>
        </p:nvSpPr>
        <p:spPr>
          <a:xfrm>
            <a:off x="9852000" y="0"/>
            <a:ext cx="2340000" cy="6858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3C70CF-753F-D510-E895-E3CFD6EB45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8" name="Freihandform: Form 7">
              <a:extLst>
                <a:ext uri="{FF2B5EF4-FFF2-40B4-BE49-F238E27FC236}">
                  <a16:creationId xmlns:a16="http://schemas.microsoft.com/office/drawing/2014/main" id="{5CDB7669-1DB2-0FAC-F801-24DEB2DD274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8">
              <a:extLst>
                <a:ext uri="{FF2B5EF4-FFF2-40B4-BE49-F238E27FC236}">
                  <a16:creationId xmlns:a16="http://schemas.microsoft.com/office/drawing/2014/main" id="{27FB14C3-E947-F413-8FD2-A7AF1E7989E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9">
              <a:extLst>
                <a:ext uri="{FF2B5EF4-FFF2-40B4-BE49-F238E27FC236}">
                  <a16:creationId xmlns:a16="http://schemas.microsoft.com/office/drawing/2014/main" id="{28A2959C-3FEE-8DF2-EE48-3A24798455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10">
              <a:extLst>
                <a:ext uri="{FF2B5EF4-FFF2-40B4-BE49-F238E27FC236}">
                  <a16:creationId xmlns:a16="http://schemas.microsoft.com/office/drawing/2014/main" id="{795D6829-EB25-0728-76A8-AB446BA22CE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1">
              <a:extLst>
                <a:ext uri="{FF2B5EF4-FFF2-40B4-BE49-F238E27FC236}">
                  <a16:creationId xmlns:a16="http://schemas.microsoft.com/office/drawing/2014/main" id="{0B852306-ADD4-B60B-EC90-CC7B5907D9C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2">
              <a:extLst>
                <a:ext uri="{FF2B5EF4-FFF2-40B4-BE49-F238E27FC236}">
                  <a16:creationId xmlns:a16="http://schemas.microsoft.com/office/drawing/2014/main" id="{5F3B4D96-3417-D8F2-FD63-C5B77B61045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3">
              <a:extLst>
                <a:ext uri="{FF2B5EF4-FFF2-40B4-BE49-F238E27FC236}">
                  <a16:creationId xmlns:a16="http://schemas.microsoft.com/office/drawing/2014/main" id="{B82861F6-CFA3-DF75-5B2D-72F5B0766AF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5755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6085">
          <p15:clr>
            <a:srgbClr val="FBAE40"/>
          </p15:clr>
        </p15:guide>
        <p15:guide id="4" pos="619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5B9CB4-BA7D-4E2A-B84F-DE995BC93D0F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53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7525375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50AB6BBE-0061-31AA-C7C9-1D13AD444A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435976" y="4249"/>
            <a:ext cx="3756024" cy="63817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978CC3F-43EF-C41F-FF6F-3A1821D12AEC}"/>
              </a:ext>
            </a:extLst>
          </p:cNvPr>
          <p:cNvGrpSpPr/>
          <p:nvPr userDrawn="1"/>
        </p:nvGrpSpPr>
        <p:grpSpPr>
          <a:xfrm>
            <a:off x="10230531" y="365260"/>
            <a:ext cx="1472671" cy="212964"/>
            <a:chOff x="10240056" y="330434"/>
            <a:chExt cx="1472671" cy="212964"/>
          </a:xfrm>
        </p:grpSpPr>
        <p:sp>
          <p:nvSpPr>
            <p:cNvPr id="29" name="Freihandform: Form 7">
              <a:extLst>
                <a:ext uri="{FF2B5EF4-FFF2-40B4-BE49-F238E27FC236}">
                  <a16:creationId xmlns:a16="http://schemas.microsoft.com/office/drawing/2014/main" id="{994FB37B-455B-ED21-9864-D0A29776AFF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8">
              <a:extLst>
                <a:ext uri="{FF2B5EF4-FFF2-40B4-BE49-F238E27FC236}">
                  <a16:creationId xmlns:a16="http://schemas.microsoft.com/office/drawing/2014/main" id="{CFA7F90D-C968-E5FF-CA07-3EA7301C8E7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9">
              <a:extLst>
                <a:ext uri="{FF2B5EF4-FFF2-40B4-BE49-F238E27FC236}">
                  <a16:creationId xmlns:a16="http://schemas.microsoft.com/office/drawing/2014/main" id="{274C797D-2B6E-00A4-DA0B-9FF063CE54E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0">
              <a:extLst>
                <a:ext uri="{FF2B5EF4-FFF2-40B4-BE49-F238E27FC236}">
                  <a16:creationId xmlns:a16="http://schemas.microsoft.com/office/drawing/2014/main" id="{03B23200-5FEC-8BAB-90A4-3B2A4977D6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1">
              <a:extLst>
                <a:ext uri="{FF2B5EF4-FFF2-40B4-BE49-F238E27FC236}">
                  <a16:creationId xmlns:a16="http://schemas.microsoft.com/office/drawing/2014/main" id="{351EFA1C-8B85-0BFA-4558-18EF2537A88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2">
              <a:extLst>
                <a:ext uri="{FF2B5EF4-FFF2-40B4-BE49-F238E27FC236}">
                  <a16:creationId xmlns:a16="http://schemas.microsoft.com/office/drawing/2014/main" id="{9A2AFE66-B8AD-04BA-389A-00A6E15190E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23F8B919-D2D3-C296-0382-3E894102D8A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3C955738-85FF-4E89-54A5-AB65B8D1F60A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37" name="Freihandform: Form 7">
              <a:extLst>
                <a:ext uri="{FF2B5EF4-FFF2-40B4-BE49-F238E27FC236}">
                  <a16:creationId xmlns:a16="http://schemas.microsoft.com/office/drawing/2014/main" id="{D715445B-CD05-D140-6FE5-1FDB2E84F24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ihandform: Form 8">
              <a:extLst>
                <a:ext uri="{FF2B5EF4-FFF2-40B4-BE49-F238E27FC236}">
                  <a16:creationId xmlns:a16="http://schemas.microsoft.com/office/drawing/2014/main" id="{655D33F0-DE72-7BB7-8145-6F90A4D120A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ihandform: Form 9">
              <a:extLst>
                <a:ext uri="{FF2B5EF4-FFF2-40B4-BE49-F238E27FC236}">
                  <a16:creationId xmlns:a16="http://schemas.microsoft.com/office/drawing/2014/main" id="{1E15F16B-2252-32ED-59A4-6DC75FCAC06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ihandform: Form 10">
              <a:extLst>
                <a:ext uri="{FF2B5EF4-FFF2-40B4-BE49-F238E27FC236}">
                  <a16:creationId xmlns:a16="http://schemas.microsoft.com/office/drawing/2014/main" id="{ED68C76F-A021-3F5C-E347-8D19FE69D18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ihandform: Form 11">
              <a:extLst>
                <a:ext uri="{FF2B5EF4-FFF2-40B4-BE49-F238E27FC236}">
                  <a16:creationId xmlns:a16="http://schemas.microsoft.com/office/drawing/2014/main" id="{1C6BD9A9-431D-E021-23A4-BDDEDB30501C}"/>
                </a:ext>
              </a:extLst>
            </p:cNvPr>
            <p:cNvSpPr/>
            <p:nvPr userDrawn="1"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ihandform: Form 12">
              <a:extLst>
                <a:ext uri="{FF2B5EF4-FFF2-40B4-BE49-F238E27FC236}">
                  <a16:creationId xmlns:a16="http://schemas.microsoft.com/office/drawing/2014/main" id="{F369213B-E233-D1BD-714A-C282781A718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ihandform: Form 13">
              <a:extLst>
                <a:ext uri="{FF2B5EF4-FFF2-40B4-BE49-F238E27FC236}">
                  <a16:creationId xmlns:a16="http://schemas.microsoft.com/office/drawing/2014/main" id="{20528F7C-A5C0-322F-15A7-A6EB0EBB116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2942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42">
          <p15:clr>
            <a:srgbClr val="FBAE40"/>
          </p15:clr>
        </p15:guide>
        <p15:guide id="3" pos="5178">
          <p15:clr>
            <a:srgbClr val="FBAE40"/>
          </p15:clr>
        </p15:guide>
        <p15:guide id="4" pos="531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1" y="396000"/>
            <a:ext cx="5472738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BAF0F51-5C41-4A2B-8419-F7C7DA6C2D80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5472739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5472738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50AB6BBE-0061-31AA-C7C9-1D13AD444A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40463" y="0"/>
            <a:ext cx="5951537" cy="638175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978CC3F-43EF-C41F-FF6F-3A1821D12AEC}"/>
              </a:ext>
            </a:extLst>
          </p:cNvPr>
          <p:cNvGrpSpPr/>
          <p:nvPr userDrawn="1"/>
        </p:nvGrpSpPr>
        <p:grpSpPr>
          <a:xfrm>
            <a:off x="10240056" y="333510"/>
            <a:ext cx="1472671" cy="212964"/>
            <a:chOff x="10240056" y="330434"/>
            <a:chExt cx="1472671" cy="212964"/>
          </a:xfrm>
        </p:grpSpPr>
        <p:sp>
          <p:nvSpPr>
            <p:cNvPr id="29" name="Freihandform: Form 7">
              <a:extLst>
                <a:ext uri="{FF2B5EF4-FFF2-40B4-BE49-F238E27FC236}">
                  <a16:creationId xmlns:a16="http://schemas.microsoft.com/office/drawing/2014/main" id="{994FB37B-455B-ED21-9864-D0A29776AFF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8">
              <a:extLst>
                <a:ext uri="{FF2B5EF4-FFF2-40B4-BE49-F238E27FC236}">
                  <a16:creationId xmlns:a16="http://schemas.microsoft.com/office/drawing/2014/main" id="{CFA7F90D-C968-E5FF-CA07-3EA7301C8E7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9">
              <a:extLst>
                <a:ext uri="{FF2B5EF4-FFF2-40B4-BE49-F238E27FC236}">
                  <a16:creationId xmlns:a16="http://schemas.microsoft.com/office/drawing/2014/main" id="{274C797D-2B6E-00A4-DA0B-9FF063CE54E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0">
              <a:extLst>
                <a:ext uri="{FF2B5EF4-FFF2-40B4-BE49-F238E27FC236}">
                  <a16:creationId xmlns:a16="http://schemas.microsoft.com/office/drawing/2014/main" id="{03B23200-5FEC-8BAB-90A4-3B2A4977D6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1">
              <a:extLst>
                <a:ext uri="{FF2B5EF4-FFF2-40B4-BE49-F238E27FC236}">
                  <a16:creationId xmlns:a16="http://schemas.microsoft.com/office/drawing/2014/main" id="{351EFA1C-8B85-0BFA-4558-18EF2537A88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2">
              <a:extLst>
                <a:ext uri="{FF2B5EF4-FFF2-40B4-BE49-F238E27FC236}">
                  <a16:creationId xmlns:a16="http://schemas.microsoft.com/office/drawing/2014/main" id="{9A2AFE66-B8AD-04BA-389A-00A6E15190E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23F8B919-D2D3-C296-0382-3E894102D8A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E17F75F-BC35-D4DC-FD0E-17F3F27921B9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D35FE251-4C46-AFE1-622E-62FF0BB7E24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40034F92-27D8-24F6-F38C-DE70FC67E07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1489A1B-9633-5BD2-B3D2-EF79EA42BEA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EBE72D7-EDD3-F309-E174-E30ED1CEA3B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4353866-F3D3-CBF0-47F0-5937D4B8946B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7CF9938-8004-AE5D-C723-D663967E854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C8FA3D1-CA91-E403-21D8-2671789E5F46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4028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D8FBB73-B9B3-491D-AE42-098BCA8B50E5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74116D9-19C4-8998-4BFB-1EF6E55BE74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24" name="Freihandform: Form 7">
              <a:extLst>
                <a:ext uri="{FF2B5EF4-FFF2-40B4-BE49-F238E27FC236}">
                  <a16:creationId xmlns:a16="http://schemas.microsoft.com/office/drawing/2014/main" id="{8DFA4C63-152A-DE5D-8685-482516025850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ihandform: Form 8">
              <a:extLst>
                <a:ext uri="{FF2B5EF4-FFF2-40B4-BE49-F238E27FC236}">
                  <a16:creationId xmlns:a16="http://schemas.microsoft.com/office/drawing/2014/main" id="{3F231653-1AEE-12DA-A8E9-FF3E1FC37F3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ihandform: Form 9">
              <a:extLst>
                <a:ext uri="{FF2B5EF4-FFF2-40B4-BE49-F238E27FC236}">
                  <a16:creationId xmlns:a16="http://schemas.microsoft.com/office/drawing/2014/main" id="{5481FC86-F6D6-A2B6-B975-6F20390D46C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ihandform: Form 10">
              <a:extLst>
                <a:ext uri="{FF2B5EF4-FFF2-40B4-BE49-F238E27FC236}">
                  <a16:creationId xmlns:a16="http://schemas.microsoft.com/office/drawing/2014/main" id="{4129373B-C3BE-9541-3832-6E92DE947B7B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0AA3BAE7-6DC3-9FE4-6C4B-CDD907363E5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F8F03606-DE20-CD1F-8922-44A49F5C287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DA975CBB-FFBE-8484-0724-0B9B53593649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13D47A0C-CCFC-13C2-E381-9DD99A1D3A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67E8F10F-2EFF-7F88-C1A3-124B136348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62" name="Textplatzhalter 8">
            <a:extLst>
              <a:ext uri="{FF2B5EF4-FFF2-40B4-BE49-F238E27FC236}">
                <a16:creationId xmlns:a16="http://schemas.microsoft.com/office/drawing/2014/main" id="{108C260D-4E48-6C99-0114-858537CDFE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DAAEA888-935A-E5B1-EE8A-69EEEF60BB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64" name="Textplatzhalter 8">
            <a:extLst>
              <a:ext uri="{FF2B5EF4-FFF2-40B4-BE49-F238E27FC236}">
                <a16:creationId xmlns:a16="http://schemas.microsoft.com/office/drawing/2014/main" id="{3EA537A4-7DCF-198D-C96D-CA34D6E1C19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0CE8FF73-8541-E49E-E067-9481DD56E38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263256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Grafik 60" descr="Ein Bild, das Kleidung, Person, Gebäude, Mann enthält.&#10;&#10;Automatisch generierte Beschreibung">
            <a:extLst>
              <a:ext uri="{FF2B5EF4-FFF2-40B4-BE49-F238E27FC236}">
                <a16:creationId xmlns:a16="http://schemas.microsoft.com/office/drawing/2014/main" id="{F8D94991-621D-1918-1F3C-E09749868ABA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9B4DD07-2195-4560-B129-40F23F11D16A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8BCD61A-60CA-E778-8FAF-D84C70AC046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3" name="Freihandform: Form 7">
              <a:extLst>
                <a:ext uri="{FF2B5EF4-FFF2-40B4-BE49-F238E27FC236}">
                  <a16:creationId xmlns:a16="http://schemas.microsoft.com/office/drawing/2014/main" id="{5CEBBD40-7D4F-BBE2-9520-8DCB1C62183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ihandform: Form 8">
              <a:extLst>
                <a:ext uri="{FF2B5EF4-FFF2-40B4-BE49-F238E27FC236}">
                  <a16:creationId xmlns:a16="http://schemas.microsoft.com/office/drawing/2014/main" id="{84E06951-BDC1-7169-A1B1-A8C52C39513D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ihandform: Form 9">
              <a:extLst>
                <a:ext uri="{FF2B5EF4-FFF2-40B4-BE49-F238E27FC236}">
                  <a16:creationId xmlns:a16="http://schemas.microsoft.com/office/drawing/2014/main" id="{B113BD63-0DCF-81D7-2EAA-04FCD5B9B48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ihandform: Form 10">
              <a:extLst>
                <a:ext uri="{FF2B5EF4-FFF2-40B4-BE49-F238E27FC236}">
                  <a16:creationId xmlns:a16="http://schemas.microsoft.com/office/drawing/2014/main" id="{74A0185C-7545-2884-AFBC-160292078BE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ihandform: Form 11">
              <a:extLst>
                <a:ext uri="{FF2B5EF4-FFF2-40B4-BE49-F238E27FC236}">
                  <a16:creationId xmlns:a16="http://schemas.microsoft.com/office/drawing/2014/main" id="{3A15687B-F925-2EC5-A5B7-BA2320237F8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ihandform: Form 12">
              <a:extLst>
                <a:ext uri="{FF2B5EF4-FFF2-40B4-BE49-F238E27FC236}">
                  <a16:creationId xmlns:a16="http://schemas.microsoft.com/office/drawing/2014/main" id="{470881D5-51DF-7717-4AA3-64AD818624D7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ihandform: Form 13">
              <a:extLst>
                <a:ext uri="{FF2B5EF4-FFF2-40B4-BE49-F238E27FC236}">
                  <a16:creationId xmlns:a16="http://schemas.microsoft.com/office/drawing/2014/main" id="{CA5F1405-18A5-1DC9-39FC-857C0BAFD18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AB262DF5-D896-82D8-BB53-D57978121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9F460655-3E59-DA38-D092-721C0927E9A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B6D8C916-CC36-7D82-EC89-15E46C6C457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344A0D8-D357-7CC1-36A1-CEFCE6B60C0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70" name="Textplatzhalter 8">
            <a:extLst>
              <a:ext uri="{FF2B5EF4-FFF2-40B4-BE49-F238E27FC236}">
                <a16:creationId xmlns:a16="http://schemas.microsoft.com/office/drawing/2014/main" id="{3CFA1BC3-5206-D14B-47C3-A4F9B5000CE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71" name="Textplatzhalter 8">
            <a:extLst>
              <a:ext uri="{FF2B5EF4-FFF2-40B4-BE49-F238E27FC236}">
                <a16:creationId xmlns:a16="http://schemas.microsoft.com/office/drawing/2014/main" id="{23A837E2-8F20-7805-91CF-1950FB51A7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1526227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w Number + Pi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020EE3A-47E5-4D79-BE35-C4831ED3CF09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0337" y="2529000"/>
            <a:ext cx="2493635" cy="1800000"/>
          </a:xfr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8235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 + P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Person, Kleidung, Himmel, Mann enthält.&#10;&#10;Automatisch generierte Beschreibung">
            <a:extLst>
              <a:ext uri="{FF2B5EF4-FFF2-40B4-BE49-F238E27FC236}">
                <a16:creationId xmlns:a16="http://schemas.microsoft.com/office/drawing/2014/main" id="{C01CA1D9-83DF-0949-BC04-F3216F25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200"/>
            <a:ext cx="12192000" cy="6862198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7EC6D30-4429-4A8D-9BE0-98E4889173C6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0337" y="2529000"/>
            <a:ext cx="2493635" cy="1800000"/>
          </a:xfr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365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chemeClr val="tx1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3606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798F28A0-F5CE-7F81-9A86-23C702A9AE76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39" name="Freihandform: Form 7">
              <a:extLst>
                <a:ext uri="{FF2B5EF4-FFF2-40B4-BE49-F238E27FC236}">
                  <a16:creationId xmlns:a16="http://schemas.microsoft.com/office/drawing/2014/main" id="{E837E4E4-8534-0AEB-4AD3-51D31B6DB4E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0" name="Freihandform: Form 8">
              <a:extLst>
                <a:ext uri="{FF2B5EF4-FFF2-40B4-BE49-F238E27FC236}">
                  <a16:creationId xmlns:a16="http://schemas.microsoft.com/office/drawing/2014/main" id="{2130741B-FF6C-4041-D77B-BD8A63816E4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1" name="Freihandform: Form 9">
              <a:extLst>
                <a:ext uri="{FF2B5EF4-FFF2-40B4-BE49-F238E27FC236}">
                  <a16:creationId xmlns:a16="http://schemas.microsoft.com/office/drawing/2014/main" id="{A216FC4C-7124-AE7E-B613-60F6CD8BB16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2" name="Freihandform: Form 10">
              <a:extLst>
                <a:ext uri="{FF2B5EF4-FFF2-40B4-BE49-F238E27FC236}">
                  <a16:creationId xmlns:a16="http://schemas.microsoft.com/office/drawing/2014/main" id="{4F84DB8F-B135-FCE1-AA11-D212E1D8DC47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3" name="Freihandform: Form 11">
              <a:extLst>
                <a:ext uri="{FF2B5EF4-FFF2-40B4-BE49-F238E27FC236}">
                  <a16:creationId xmlns:a16="http://schemas.microsoft.com/office/drawing/2014/main" id="{9CB787C1-990A-8593-3314-C71F3A3040E5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4" name="Freihandform: Form 12">
              <a:extLst>
                <a:ext uri="{FF2B5EF4-FFF2-40B4-BE49-F238E27FC236}">
                  <a16:creationId xmlns:a16="http://schemas.microsoft.com/office/drawing/2014/main" id="{3BC5B3F7-F686-D899-4E51-A1D55851E4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5" name="Freihandform: Form 13">
              <a:extLst>
                <a:ext uri="{FF2B5EF4-FFF2-40B4-BE49-F238E27FC236}">
                  <a16:creationId xmlns:a16="http://schemas.microsoft.com/office/drawing/2014/main" id="{088378B8-A284-0C3F-F791-09E8509C291A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0790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B4F41F0-EEB0-AA9B-C28E-3D8D38A07A2D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23" name="Freihandform: Form 7">
              <a:extLst>
                <a:ext uri="{FF2B5EF4-FFF2-40B4-BE49-F238E27FC236}">
                  <a16:creationId xmlns:a16="http://schemas.microsoft.com/office/drawing/2014/main" id="{54EBE668-5973-846D-A77A-428B5E7D3A39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4" name="Freihandform: Form 8">
              <a:extLst>
                <a:ext uri="{FF2B5EF4-FFF2-40B4-BE49-F238E27FC236}">
                  <a16:creationId xmlns:a16="http://schemas.microsoft.com/office/drawing/2014/main" id="{23FAC38C-E669-0DB9-153F-36AB7943C40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5" name="Freihandform: Form 9">
              <a:extLst>
                <a:ext uri="{FF2B5EF4-FFF2-40B4-BE49-F238E27FC236}">
                  <a16:creationId xmlns:a16="http://schemas.microsoft.com/office/drawing/2014/main" id="{52A88C9F-188C-750B-D06B-BE56F405F14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6" name="Freihandform: Form 10">
              <a:extLst>
                <a:ext uri="{FF2B5EF4-FFF2-40B4-BE49-F238E27FC236}">
                  <a16:creationId xmlns:a16="http://schemas.microsoft.com/office/drawing/2014/main" id="{D5578205-B925-7FF2-4E0B-095A82049DB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7" name="Freihandform: Form 11">
              <a:extLst>
                <a:ext uri="{FF2B5EF4-FFF2-40B4-BE49-F238E27FC236}">
                  <a16:creationId xmlns:a16="http://schemas.microsoft.com/office/drawing/2014/main" id="{EDE2F598-5C9E-496B-4529-059674AD66A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58AC79AD-F66A-14F6-0B2C-E651F73B018E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3492E4C7-1724-51DF-41E4-A5DFCD2CE07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550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751E3BAE-CC7C-9F51-DC2D-F1D981E969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63696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1E3BAE-CC7C-9F51-DC2D-F1D981E969F5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89AAB62-8364-433D-B727-7FC9B7D5AE22}" type="datetime1">
              <a:rPr lang="de-DE" smtClean="0"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3601076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12125" y="1692000"/>
            <a:ext cx="36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5149" y="1692000"/>
            <a:ext cx="3601076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D068EBBA-B8C8-BACC-A874-07A95FA384F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20063" y="4032000"/>
            <a:ext cx="36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91EAF0C-C8EF-FF54-89B6-A61F05488EF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7" name="Freihandform: Form 7">
              <a:extLst>
                <a:ext uri="{FF2B5EF4-FFF2-40B4-BE49-F238E27FC236}">
                  <a16:creationId xmlns:a16="http://schemas.microsoft.com/office/drawing/2014/main" id="{0CB1BE2F-7784-9A9E-DF54-A19B00488CD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8">
              <a:extLst>
                <a:ext uri="{FF2B5EF4-FFF2-40B4-BE49-F238E27FC236}">
                  <a16:creationId xmlns:a16="http://schemas.microsoft.com/office/drawing/2014/main" id="{D943CACF-5D02-F7AF-3061-D76AA4F0710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9">
              <a:extLst>
                <a:ext uri="{FF2B5EF4-FFF2-40B4-BE49-F238E27FC236}">
                  <a16:creationId xmlns:a16="http://schemas.microsoft.com/office/drawing/2014/main" id="{4BB87B65-7759-B46A-5C87-78E8581EBC6B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0">
              <a:extLst>
                <a:ext uri="{FF2B5EF4-FFF2-40B4-BE49-F238E27FC236}">
                  <a16:creationId xmlns:a16="http://schemas.microsoft.com/office/drawing/2014/main" id="{319C74BD-C9A9-EE0C-929A-E2DE316EF4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1">
              <a:extLst>
                <a:ext uri="{FF2B5EF4-FFF2-40B4-BE49-F238E27FC236}">
                  <a16:creationId xmlns:a16="http://schemas.microsoft.com/office/drawing/2014/main" id="{514AF8FA-3761-B95B-36F6-B3B93B57FF8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2">
              <a:extLst>
                <a:ext uri="{FF2B5EF4-FFF2-40B4-BE49-F238E27FC236}">
                  <a16:creationId xmlns:a16="http://schemas.microsoft.com/office/drawing/2014/main" id="{36547CBB-B272-BA61-48CA-BBA4D777621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ihandform: Form 13">
              <a:extLst>
                <a:ext uri="{FF2B5EF4-FFF2-40B4-BE49-F238E27FC236}">
                  <a16:creationId xmlns:a16="http://schemas.microsoft.com/office/drawing/2014/main" id="{044A1871-744E-DCAA-1181-EFE93BD5905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Inhaltsplatzhalter 9">
            <a:extLst>
              <a:ext uri="{FF2B5EF4-FFF2-40B4-BE49-F238E27FC236}">
                <a16:creationId xmlns:a16="http://schemas.microsoft.com/office/drawing/2014/main" id="{84ACD17D-69B1-0D31-0E70-D5919815A6E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9425" y="4032000"/>
            <a:ext cx="3600449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1" name="Inhaltsplatzhalter 11">
            <a:extLst>
              <a:ext uri="{FF2B5EF4-FFF2-40B4-BE49-F238E27FC236}">
                <a16:creationId xmlns:a16="http://schemas.microsoft.com/office/drawing/2014/main" id="{C9E91A7D-A34B-FFA0-14CD-49796D5FB60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95775" y="4032000"/>
            <a:ext cx="360045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berschrift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upttext</a:t>
            </a:r>
          </a:p>
          <a:p>
            <a:pPr marL="180000" marR="0" lvl="2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Aufzählungsebene</a:t>
            </a:r>
          </a:p>
          <a:p>
            <a:pPr marL="360000" marR="0" lvl="3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Aufzählungsebene</a:t>
            </a:r>
          </a:p>
          <a:p>
            <a:pPr marL="180000" marR="0" lvl="4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s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5" indent="-1800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weite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merierungsebene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6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E ZWISCHENÜBERSCHRIFT</a:t>
            </a:r>
          </a:p>
          <a:p>
            <a:pPr marL="0" marR="0" lvl="7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82B8A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ÜNE ZWISCHENÜBERSCHRIFT</a:t>
            </a:r>
          </a:p>
          <a:p>
            <a:pPr marL="0" marR="0" lvl="8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ßzeil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25E0E5-EDE2-3EC6-8436-CD5C7BD7C292}"/>
              </a:ext>
            </a:extLst>
          </p:cNvPr>
          <p:cNvSpPr txBox="1"/>
          <p:nvPr userDrawn="1"/>
        </p:nvSpPr>
        <p:spPr>
          <a:xfrm>
            <a:off x="938150" y="-267195"/>
            <a:ext cx="730332" cy="184666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30"/>
              </a:spcAft>
            </a:pPr>
            <a:r>
              <a:rPr lang="de-DE" sz="12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1918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2570">
          <p15:clr>
            <a:srgbClr val="FBAE40"/>
          </p15:clr>
        </p15:guide>
        <p15:guide id="3" pos="2706">
          <p15:clr>
            <a:srgbClr val="FBAE40"/>
          </p15:clr>
        </p15:guide>
        <p15:guide id="4" pos="5110">
          <p15:clr>
            <a:srgbClr val="FBAE40"/>
          </p15:clr>
        </p15:guide>
        <p15:guide id="5" orient="horz" pos="2432">
          <p15:clr>
            <a:srgbClr val="FBAE40"/>
          </p15:clr>
        </p15:guide>
        <p15:guide id="6" orient="horz" pos="2568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5467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382B33DE-28B0-2DFB-36EC-3CE7981604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8799" y="2578825"/>
            <a:ext cx="1790386" cy="218586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cap="all" baseline="0" dirty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 err="1"/>
              <a:t>kunde</a:t>
            </a:r>
            <a:endParaRPr lang="de-DE"/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0FFD150C-8DA6-73ED-930A-C293DFDCF4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8475" y="2578825"/>
            <a:ext cx="1790386" cy="21858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cap="all" baseline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ERFOLGE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1A0DF424-5224-333B-D7ED-012341F2A8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7432" y="2578825"/>
            <a:ext cx="1790386" cy="21858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cap="all" baseline="0" dirty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UNSERE ROLLE</a:t>
            </a:r>
          </a:p>
        </p:txBody>
      </p:sp>
      <p:sp>
        <p:nvSpPr>
          <p:cNvPr id="33" name="Inhaltsplatzhalter 4">
            <a:extLst>
              <a:ext uri="{FF2B5EF4-FFF2-40B4-BE49-F238E27FC236}">
                <a16:creationId xmlns:a16="http://schemas.microsoft.com/office/drawing/2014/main" id="{4DD85D04-D91D-8446-6B78-86239A4E549E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79425" y="2964922"/>
            <a:ext cx="5090092" cy="317307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rgbClr val="7192C7"/>
              </a:buClr>
              <a:defRPr sz="7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08299A53-0EAB-545E-5B9A-36A306D68AA5}"/>
              </a:ext>
            </a:extLst>
          </p:cNvPr>
          <p:cNvSpPr/>
          <p:nvPr userDrawn="1"/>
        </p:nvSpPr>
        <p:spPr>
          <a:xfrm>
            <a:off x="0" y="1619887"/>
            <a:ext cx="12191701" cy="4161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D253BC4-2080-05B1-48AE-043B6B12C8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85219" y="1741574"/>
            <a:ext cx="1188000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UNDE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A2D186FC-2E00-F070-63F1-7CA81450AA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60206" y="1741574"/>
            <a:ext cx="1188000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ROJEKTTYP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79AD2616-F94C-FABA-8115-420C3A1FB6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60002" y="1741574"/>
            <a:ext cx="1188000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 CONSULTANTS</a:t>
            </a:r>
          </a:p>
        </p:txBody>
      </p:sp>
      <p:sp>
        <p:nvSpPr>
          <p:cNvPr id="32" name="Textplatzhalter 22">
            <a:extLst>
              <a:ext uri="{FF2B5EF4-FFF2-40B4-BE49-F238E27FC236}">
                <a16:creationId xmlns:a16="http://schemas.microsoft.com/office/drawing/2014/main" id="{B4E20E9E-EDC9-F77D-9230-C69827DE75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29875" y="1741574"/>
            <a:ext cx="1188000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LAUFZEI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56E741-995F-AA74-5FB6-5B6FC6C7F230}"/>
              </a:ext>
            </a:extLst>
          </p:cNvPr>
          <p:cNvSpPr/>
          <p:nvPr userDrawn="1"/>
        </p:nvSpPr>
        <p:spPr>
          <a:xfrm>
            <a:off x="0" y="0"/>
            <a:ext cx="12192000" cy="16198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C62097-443B-8684-8B05-508CFAB1E4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11233927" cy="615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Referenz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99572A-F465-965F-1DFA-4B0F2FA7E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B607-BA27-4432-B68C-A54109CAA267}" type="datetime1">
              <a:rPr lang="de-DE" smtClean="0"/>
              <a:t>03.06.25</a:t>
            </a:fld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86B6DE-C23E-AE7F-195A-333EC0FEE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ngebot GLKB-01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06440-8751-9F9B-B2A1-E4E9D5496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13" name="Rechteck 29">
            <a:extLst>
              <a:ext uri="{FF2B5EF4-FFF2-40B4-BE49-F238E27FC236}">
                <a16:creationId xmlns:a16="http://schemas.microsoft.com/office/drawing/2014/main" id="{660ACAC8-428A-1956-5DFE-8A24938CF81F}"/>
              </a:ext>
            </a:extLst>
          </p:cNvPr>
          <p:cNvSpPr/>
          <p:nvPr userDrawn="1"/>
        </p:nvSpPr>
        <p:spPr>
          <a:xfrm>
            <a:off x="1072093" y="1720251"/>
            <a:ext cx="1266615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scene3d>
            <a:camera prst="obliqueTopLeft"/>
            <a:lightRig rig="threePt" dir="t"/>
          </a:scene3d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EY FACT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Freeform 127">
            <a:extLst>
              <a:ext uri="{FF2B5EF4-FFF2-40B4-BE49-F238E27FC236}">
                <a16:creationId xmlns:a16="http://schemas.microsoft.com/office/drawing/2014/main" id="{C8285784-2A18-1334-2385-F8ACD41DDB8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58349" y="1717475"/>
            <a:ext cx="288000" cy="221906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73737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70AB1CB-EDC7-2A39-59F7-9B06A04673F4}"/>
              </a:ext>
            </a:extLst>
          </p:cNvPr>
          <p:cNvGrpSpPr/>
          <p:nvPr userDrawn="1"/>
        </p:nvGrpSpPr>
        <p:grpSpPr>
          <a:xfrm>
            <a:off x="10024725" y="1707004"/>
            <a:ext cx="216000" cy="242847"/>
            <a:chOff x="9863618" y="1707004"/>
            <a:chExt cx="216000" cy="242847"/>
          </a:xfrm>
        </p:grpSpPr>
        <p:sp>
          <p:nvSpPr>
            <p:cNvPr id="220" name="Freeform 14">
              <a:extLst>
                <a:ext uri="{FF2B5EF4-FFF2-40B4-BE49-F238E27FC236}">
                  <a16:creationId xmlns:a16="http://schemas.microsoft.com/office/drawing/2014/main" id="{9C2921C1-75FA-89C3-B007-49C975BC72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3618" y="1707004"/>
              <a:ext cx="216000" cy="242847"/>
            </a:xfrm>
            <a:custGeom>
              <a:avLst/>
              <a:gdLst>
                <a:gd name="T0" fmla="*/ 79 w 86"/>
                <a:gd name="T1" fmla="*/ 41 h 96"/>
                <a:gd name="T2" fmla="*/ 59 w 86"/>
                <a:gd name="T3" fmla="*/ 18 h 96"/>
                <a:gd name="T4" fmla="*/ 27 w 86"/>
                <a:gd name="T5" fmla="*/ 18 h 96"/>
                <a:gd name="T6" fmla="*/ 7 w 86"/>
                <a:gd name="T7" fmla="*/ 41 h 96"/>
                <a:gd name="T8" fmla="*/ 7 w 86"/>
                <a:gd name="T9" fmla="*/ 55 h 96"/>
                <a:gd name="T10" fmla="*/ 15 w 86"/>
                <a:gd name="T11" fmla="*/ 80 h 96"/>
                <a:gd name="T12" fmla="*/ 43 w 86"/>
                <a:gd name="T13" fmla="*/ 96 h 96"/>
                <a:gd name="T14" fmla="*/ 71 w 86"/>
                <a:gd name="T15" fmla="*/ 80 h 96"/>
                <a:gd name="T16" fmla="*/ 79 w 86"/>
                <a:gd name="T17" fmla="*/ 55 h 96"/>
                <a:gd name="T18" fmla="*/ 71 w 86"/>
                <a:gd name="T19" fmla="*/ 20 h 96"/>
                <a:gd name="T20" fmla="*/ 75 w 86"/>
                <a:gd name="T21" fmla="*/ 39 h 96"/>
                <a:gd name="T22" fmla="*/ 63 w 86"/>
                <a:gd name="T23" fmla="*/ 38 h 96"/>
                <a:gd name="T24" fmla="*/ 71 w 86"/>
                <a:gd name="T25" fmla="*/ 20 h 96"/>
                <a:gd name="T26" fmla="*/ 43 w 86"/>
                <a:gd name="T27" fmla="*/ 67 h 96"/>
                <a:gd name="T28" fmla="*/ 27 w 86"/>
                <a:gd name="T29" fmla="*/ 56 h 96"/>
                <a:gd name="T30" fmla="*/ 27 w 86"/>
                <a:gd name="T31" fmla="*/ 40 h 96"/>
                <a:gd name="T32" fmla="*/ 43 w 86"/>
                <a:gd name="T33" fmla="*/ 29 h 96"/>
                <a:gd name="T34" fmla="*/ 59 w 86"/>
                <a:gd name="T35" fmla="*/ 40 h 96"/>
                <a:gd name="T36" fmla="*/ 59 w 86"/>
                <a:gd name="T37" fmla="*/ 56 h 96"/>
                <a:gd name="T38" fmla="*/ 58 w 86"/>
                <a:gd name="T39" fmla="*/ 62 h 96"/>
                <a:gd name="T40" fmla="*/ 47 w 86"/>
                <a:gd name="T41" fmla="*/ 69 h 96"/>
                <a:gd name="T42" fmla="*/ 58 w 86"/>
                <a:gd name="T43" fmla="*/ 62 h 96"/>
                <a:gd name="T44" fmla="*/ 30 w 86"/>
                <a:gd name="T45" fmla="*/ 73 h 96"/>
                <a:gd name="T46" fmla="*/ 32 w 86"/>
                <a:gd name="T47" fmla="*/ 64 h 96"/>
                <a:gd name="T48" fmla="*/ 23 w 86"/>
                <a:gd name="T49" fmla="*/ 53 h 96"/>
                <a:gd name="T50" fmla="*/ 23 w 86"/>
                <a:gd name="T51" fmla="*/ 43 h 96"/>
                <a:gd name="T52" fmla="*/ 23 w 86"/>
                <a:gd name="T53" fmla="*/ 53 h 96"/>
                <a:gd name="T54" fmla="*/ 30 w 86"/>
                <a:gd name="T55" fmla="*/ 23 h 96"/>
                <a:gd name="T56" fmla="*/ 32 w 86"/>
                <a:gd name="T57" fmla="*/ 32 h 96"/>
                <a:gd name="T58" fmla="*/ 47 w 86"/>
                <a:gd name="T59" fmla="*/ 27 h 96"/>
                <a:gd name="T60" fmla="*/ 58 w 86"/>
                <a:gd name="T61" fmla="*/ 34 h 96"/>
                <a:gd name="T62" fmla="*/ 47 w 86"/>
                <a:gd name="T63" fmla="*/ 27 h 96"/>
                <a:gd name="T64" fmla="*/ 68 w 86"/>
                <a:gd name="T65" fmla="*/ 48 h 96"/>
                <a:gd name="T66" fmla="*/ 63 w 86"/>
                <a:gd name="T67" fmla="*/ 48 h 96"/>
                <a:gd name="T68" fmla="*/ 43 w 86"/>
                <a:gd name="T69" fmla="*/ 4 h 96"/>
                <a:gd name="T70" fmla="*/ 43 w 86"/>
                <a:gd name="T71" fmla="*/ 25 h 96"/>
                <a:gd name="T72" fmla="*/ 43 w 86"/>
                <a:gd name="T73" fmla="*/ 4 h 96"/>
                <a:gd name="T74" fmla="*/ 7 w 86"/>
                <a:gd name="T75" fmla="*/ 23 h 96"/>
                <a:gd name="T76" fmla="*/ 23 w 86"/>
                <a:gd name="T77" fmla="*/ 38 h 96"/>
                <a:gd name="T78" fmla="*/ 11 w 86"/>
                <a:gd name="T79" fmla="*/ 39 h 96"/>
                <a:gd name="T80" fmla="*/ 11 w 86"/>
                <a:gd name="T81" fmla="*/ 57 h 96"/>
                <a:gd name="T82" fmla="*/ 23 w 86"/>
                <a:gd name="T83" fmla="*/ 58 h 96"/>
                <a:gd name="T84" fmla="*/ 7 w 86"/>
                <a:gd name="T85" fmla="*/ 73 h 96"/>
                <a:gd name="T86" fmla="*/ 31 w 86"/>
                <a:gd name="T87" fmla="*/ 77 h 96"/>
                <a:gd name="T88" fmla="*/ 55 w 86"/>
                <a:gd name="T89" fmla="*/ 77 h 96"/>
                <a:gd name="T90" fmla="*/ 79 w 86"/>
                <a:gd name="T91" fmla="*/ 73 h 96"/>
                <a:gd name="T92" fmla="*/ 63 w 86"/>
                <a:gd name="T93" fmla="*/ 58 h 96"/>
                <a:gd name="T94" fmla="*/ 75 w 86"/>
                <a:gd name="T95" fmla="*/ 5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6" h="96">
                  <a:moveTo>
                    <a:pt x="73" y="48"/>
                  </a:moveTo>
                  <a:cubicBezTo>
                    <a:pt x="75" y="46"/>
                    <a:pt x="77" y="43"/>
                    <a:pt x="79" y="41"/>
                  </a:cubicBezTo>
                  <a:cubicBezTo>
                    <a:pt x="84" y="33"/>
                    <a:pt x="86" y="25"/>
                    <a:pt x="83" y="21"/>
                  </a:cubicBezTo>
                  <a:cubicBezTo>
                    <a:pt x="79" y="15"/>
                    <a:pt x="70" y="15"/>
                    <a:pt x="59" y="18"/>
                  </a:cubicBezTo>
                  <a:cubicBezTo>
                    <a:pt x="55" y="7"/>
                    <a:pt x="49" y="0"/>
                    <a:pt x="43" y="0"/>
                  </a:cubicBezTo>
                  <a:cubicBezTo>
                    <a:pt x="37" y="0"/>
                    <a:pt x="31" y="7"/>
                    <a:pt x="27" y="18"/>
                  </a:cubicBezTo>
                  <a:cubicBezTo>
                    <a:pt x="16" y="15"/>
                    <a:pt x="7" y="15"/>
                    <a:pt x="3" y="21"/>
                  </a:cubicBezTo>
                  <a:cubicBezTo>
                    <a:pt x="0" y="25"/>
                    <a:pt x="2" y="33"/>
                    <a:pt x="7" y="41"/>
                  </a:cubicBezTo>
                  <a:cubicBezTo>
                    <a:pt x="9" y="43"/>
                    <a:pt x="11" y="46"/>
                    <a:pt x="13" y="48"/>
                  </a:cubicBezTo>
                  <a:cubicBezTo>
                    <a:pt x="11" y="50"/>
                    <a:pt x="9" y="53"/>
                    <a:pt x="7" y="55"/>
                  </a:cubicBezTo>
                  <a:cubicBezTo>
                    <a:pt x="2" y="63"/>
                    <a:pt x="0" y="71"/>
                    <a:pt x="3" y="75"/>
                  </a:cubicBezTo>
                  <a:cubicBezTo>
                    <a:pt x="6" y="78"/>
                    <a:pt x="10" y="80"/>
                    <a:pt x="15" y="80"/>
                  </a:cubicBezTo>
                  <a:cubicBezTo>
                    <a:pt x="19" y="80"/>
                    <a:pt x="23" y="79"/>
                    <a:pt x="27" y="78"/>
                  </a:cubicBezTo>
                  <a:cubicBezTo>
                    <a:pt x="31" y="89"/>
                    <a:pt x="37" y="96"/>
                    <a:pt x="43" y="96"/>
                  </a:cubicBezTo>
                  <a:cubicBezTo>
                    <a:pt x="49" y="96"/>
                    <a:pt x="55" y="89"/>
                    <a:pt x="59" y="78"/>
                  </a:cubicBezTo>
                  <a:cubicBezTo>
                    <a:pt x="63" y="79"/>
                    <a:pt x="67" y="80"/>
                    <a:pt x="71" y="80"/>
                  </a:cubicBezTo>
                  <a:cubicBezTo>
                    <a:pt x="76" y="80"/>
                    <a:pt x="80" y="78"/>
                    <a:pt x="83" y="75"/>
                  </a:cubicBezTo>
                  <a:cubicBezTo>
                    <a:pt x="86" y="71"/>
                    <a:pt x="84" y="63"/>
                    <a:pt x="79" y="55"/>
                  </a:cubicBezTo>
                  <a:cubicBezTo>
                    <a:pt x="77" y="53"/>
                    <a:pt x="75" y="50"/>
                    <a:pt x="73" y="48"/>
                  </a:cubicBezTo>
                  <a:close/>
                  <a:moveTo>
                    <a:pt x="71" y="20"/>
                  </a:moveTo>
                  <a:cubicBezTo>
                    <a:pt x="75" y="20"/>
                    <a:pt x="78" y="21"/>
                    <a:pt x="79" y="23"/>
                  </a:cubicBezTo>
                  <a:cubicBezTo>
                    <a:pt x="81" y="26"/>
                    <a:pt x="80" y="32"/>
                    <a:pt x="75" y="39"/>
                  </a:cubicBezTo>
                  <a:cubicBezTo>
                    <a:pt x="74" y="41"/>
                    <a:pt x="72" y="43"/>
                    <a:pt x="71" y="45"/>
                  </a:cubicBezTo>
                  <a:cubicBezTo>
                    <a:pt x="68" y="43"/>
                    <a:pt x="65" y="40"/>
                    <a:pt x="63" y="38"/>
                  </a:cubicBezTo>
                  <a:cubicBezTo>
                    <a:pt x="62" y="32"/>
                    <a:pt x="61" y="27"/>
                    <a:pt x="60" y="22"/>
                  </a:cubicBezTo>
                  <a:cubicBezTo>
                    <a:pt x="64" y="21"/>
                    <a:pt x="68" y="20"/>
                    <a:pt x="71" y="20"/>
                  </a:cubicBezTo>
                  <a:close/>
                  <a:moveTo>
                    <a:pt x="52" y="61"/>
                  </a:moveTo>
                  <a:cubicBezTo>
                    <a:pt x="49" y="63"/>
                    <a:pt x="46" y="65"/>
                    <a:pt x="43" y="67"/>
                  </a:cubicBezTo>
                  <a:cubicBezTo>
                    <a:pt x="40" y="65"/>
                    <a:pt x="37" y="63"/>
                    <a:pt x="34" y="61"/>
                  </a:cubicBezTo>
                  <a:cubicBezTo>
                    <a:pt x="32" y="60"/>
                    <a:pt x="29" y="58"/>
                    <a:pt x="27" y="56"/>
                  </a:cubicBezTo>
                  <a:cubicBezTo>
                    <a:pt x="27" y="54"/>
                    <a:pt x="27" y="51"/>
                    <a:pt x="27" y="48"/>
                  </a:cubicBezTo>
                  <a:cubicBezTo>
                    <a:pt x="27" y="45"/>
                    <a:pt x="27" y="42"/>
                    <a:pt x="27" y="40"/>
                  </a:cubicBezTo>
                  <a:cubicBezTo>
                    <a:pt x="29" y="38"/>
                    <a:pt x="32" y="36"/>
                    <a:pt x="34" y="35"/>
                  </a:cubicBezTo>
                  <a:cubicBezTo>
                    <a:pt x="37" y="33"/>
                    <a:pt x="40" y="31"/>
                    <a:pt x="43" y="29"/>
                  </a:cubicBezTo>
                  <a:cubicBezTo>
                    <a:pt x="46" y="31"/>
                    <a:pt x="49" y="33"/>
                    <a:pt x="52" y="35"/>
                  </a:cubicBezTo>
                  <a:cubicBezTo>
                    <a:pt x="54" y="36"/>
                    <a:pt x="57" y="38"/>
                    <a:pt x="59" y="40"/>
                  </a:cubicBezTo>
                  <a:cubicBezTo>
                    <a:pt x="59" y="42"/>
                    <a:pt x="59" y="45"/>
                    <a:pt x="59" y="48"/>
                  </a:cubicBezTo>
                  <a:cubicBezTo>
                    <a:pt x="59" y="51"/>
                    <a:pt x="59" y="54"/>
                    <a:pt x="59" y="56"/>
                  </a:cubicBezTo>
                  <a:cubicBezTo>
                    <a:pt x="57" y="58"/>
                    <a:pt x="54" y="60"/>
                    <a:pt x="52" y="61"/>
                  </a:cubicBezTo>
                  <a:close/>
                  <a:moveTo>
                    <a:pt x="58" y="62"/>
                  </a:moveTo>
                  <a:cubicBezTo>
                    <a:pt x="58" y="66"/>
                    <a:pt x="57" y="69"/>
                    <a:pt x="56" y="73"/>
                  </a:cubicBezTo>
                  <a:cubicBezTo>
                    <a:pt x="53" y="72"/>
                    <a:pt x="50" y="71"/>
                    <a:pt x="47" y="69"/>
                  </a:cubicBezTo>
                  <a:cubicBezTo>
                    <a:pt x="50" y="68"/>
                    <a:pt x="52" y="66"/>
                    <a:pt x="54" y="64"/>
                  </a:cubicBezTo>
                  <a:cubicBezTo>
                    <a:pt x="56" y="64"/>
                    <a:pt x="57" y="63"/>
                    <a:pt x="58" y="62"/>
                  </a:cubicBezTo>
                  <a:close/>
                  <a:moveTo>
                    <a:pt x="39" y="69"/>
                  </a:moveTo>
                  <a:cubicBezTo>
                    <a:pt x="36" y="71"/>
                    <a:pt x="33" y="72"/>
                    <a:pt x="30" y="73"/>
                  </a:cubicBezTo>
                  <a:cubicBezTo>
                    <a:pt x="29" y="69"/>
                    <a:pt x="28" y="66"/>
                    <a:pt x="28" y="62"/>
                  </a:cubicBezTo>
                  <a:cubicBezTo>
                    <a:pt x="29" y="63"/>
                    <a:pt x="30" y="64"/>
                    <a:pt x="32" y="64"/>
                  </a:cubicBezTo>
                  <a:cubicBezTo>
                    <a:pt x="34" y="66"/>
                    <a:pt x="36" y="68"/>
                    <a:pt x="39" y="69"/>
                  </a:cubicBezTo>
                  <a:close/>
                  <a:moveTo>
                    <a:pt x="23" y="53"/>
                  </a:moveTo>
                  <a:cubicBezTo>
                    <a:pt x="21" y="51"/>
                    <a:pt x="20" y="50"/>
                    <a:pt x="18" y="48"/>
                  </a:cubicBezTo>
                  <a:cubicBezTo>
                    <a:pt x="20" y="46"/>
                    <a:pt x="21" y="45"/>
                    <a:pt x="23" y="43"/>
                  </a:cubicBezTo>
                  <a:cubicBezTo>
                    <a:pt x="23" y="45"/>
                    <a:pt x="23" y="46"/>
                    <a:pt x="23" y="48"/>
                  </a:cubicBezTo>
                  <a:cubicBezTo>
                    <a:pt x="23" y="50"/>
                    <a:pt x="23" y="51"/>
                    <a:pt x="23" y="53"/>
                  </a:cubicBezTo>
                  <a:close/>
                  <a:moveTo>
                    <a:pt x="28" y="34"/>
                  </a:moveTo>
                  <a:cubicBezTo>
                    <a:pt x="28" y="30"/>
                    <a:pt x="29" y="27"/>
                    <a:pt x="30" y="23"/>
                  </a:cubicBezTo>
                  <a:cubicBezTo>
                    <a:pt x="33" y="24"/>
                    <a:pt x="36" y="25"/>
                    <a:pt x="39" y="27"/>
                  </a:cubicBezTo>
                  <a:cubicBezTo>
                    <a:pt x="36" y="28"/>
                    <a:pt x="34" y="30"/>
                    <a:pt x="32" y="32"/>
                  </a:cubicBezTo>
                  <a:cubicBezTo>
                    <a:pt x="30" y="32"/>
                    <a:pt x="29" y="33"/>
                    <a:pt x="28" y="34"/>
                  </a:cubicBezTo>
                  <a:close/>
                  <a:moveTo>
                    <a:pt x="47" y="27"/>
                  </a:moveTo>
                  <a:cubicBezTo>
                    <a:pt x="50" y="25"/>
                    <a:pt x="53" y="24"/>
                    <a:pt x="56" y="23"/>
                  </a:cubicBezTo>
                  <a:cubicBezTo>
                    <a:pt x="57" y="27"/>
                    <a:pt x="58" y="30"/>
                    <a:pt x="58" y="34"/>
                  </a:cubicBezTo>
                  <a:cubicBezTo>
                    <a:pt x="57" y="33"/>
                    <a:pt x="56" y="32"/>
                    <a:pt x="54" y="32"/>
                  </a:cubicBezTo>
                  <a:cubicBezTo>
                    <a:pt x="52" y="30"/>
                    <a:pt x="50" y="28"/>
                    <a:pt x="47" y="27"/>
                  </a:cubicBezTo>
                  <a:close/>
                  <a:moveTo>
                    <a:pt x="63" y="43"/>
                  </a:moveTo>
                  <a:cubicBezTo>
                    <a:pt x="65" y="45"/>
                    <a:pt x="66" y="46"/>
                    <a:pt x="68" y="48"/>
                  </a:cubicBezTo>
                  <a:cubicBezTo>
                    <a:pt x="66" y="50"/>
                    <a:pt x="65" y="51"/>
                    <a:pt x="63" y="53"/>
                  </a:cubicBezTo>
                  <a:cubicBezTo>
                    <a:pt x="63" y="51"/>
                    <a:pt x="63" y="50"/>
                    <a:pt x="63" y="48"/>
                  </a:cubicBezTo>
                  <a:cubicBezTo>
                    <a:pt x="63" y="46"/>
                    <a:pt x="63" y="45"/>
                    <a:pt x="63" y="43"/>
                  </a:cubicBezTo>
                  <a:close/>
                  <a:moveTo>
                    <a:pt x="43" y="4"/>
                  </a:moveTo>
                  <a:cubicBezTo>
                    <a:pt x="47" y="4"/>
                    <a:pt x="52" y="10"/>
                    <a:pt x="55" y="19"/>
                  </a:cubicBezTo>
                  <a:cubicBezTo>
                    <a:pt x="51" y="21"/>
                    <a:pt x="47" y="22"/>
                    <a:pt x="43" y="25"/>
                  </a:cubicBezTo>
                  <a:cubicBezTo>
                    <a:pt x="39" y="22"/>
                    <a:pt x="35" y="21"/>
                    <a:pt x="31" y="19"/>
                  </a:cubicBezTo>
                  <a:cubicBezTo>
                    <a:pt x="34" y="10"/>
                    <a:pt x="39" y="4"/>
                    <a:pt x="43" y="4"/>
                  </a:cubicBezTo>
                  <a:close/>
                  <a:moveTo>
                    <a:pt x="11" y="39"/>
                  </a:moveTo>
                  <a:cubicBezTo>
                    <a:pt x="6" y="32"/>
                    <a:pt x="5" y="26"/>
                    <a:pt x="7" y="23"/>
                  </a:cubicBezTo>
                  <a:cubicBezTo>
                    <a:pt x="9" y="20"/>
                    <a:pt x="16" y="19"/>
                    <a:pt x="26" y="22"/>
                  </a:cubicBezTo>
                  <a:cubicBezTo>
                    <a:pt x="25" y="27"/>
                    <a:pt x="24" y="32"/>
                    <a:pt x="23" y="38"/>
                  </a:cubicBezTo>
                  <a:cubicBezTo>
                    <a:pt x="21" y="40"/>
                    <a:pt x="18" y="43"/>
                    <a:pt x="15" y="45"/>
                  </a:cubicBezTo>
                  <a:cubicBezTo>
                    <a:pt x="14" y="43"/>
                    <a:pt x="12" y="41"/>
                    <a:pt x="11" y="39"/>
                  </a:cubicBezTo>
                  <a:close/>
                  <a:moveTo>
                    <a:pt x="7" y="73"/>
                  </a:moveTo>
                  <a:cubicBezTo>
                    <a:pt x="5" y="70"/>
                    <a:pt x="6" y="64"/>
                    <a:pt x="11" y="57"/>
                  </a:cubicBezTo>
                  <a:cubicBezTo>
                    <a:pt x="12" y="55"/>
                    <a:pt x="14" y="53"/>
                    <a:pt x="15" y="51"/>
                  </a:cubicBezTo>
                  <a:cubicBezTo>
                    <a:pt x="18" y="53"/>
                    <a:pt x="21" y="56"/>
                    <a:pt x="23" y="58"/>
                  </a:cubicBezTo>
                  <a:cubicBezTo>
                    <a:pt x="24" y="64"/>
                    <a:pt x="25" y="69"/>
                    <a:pt x="26" y="74"/>
                  </a:cubicBezTo>
                  <a:cubicBezTo>
                    <a:pt x="16" y="77"/>
                    <a:pt x="9" y="76"/>
                    <a:pt x="7" y="73"/>
                  </a:cubicBezTo>
                  <a:close/>
                  <a:moveTo>
                    <a:pt x="43" y="92"/>
                  </a:moveTo>
                  <a:cubicBezTo>
                    <a:pt x="39" y="92"/>
                    <a:pt x="34" y="86"/>
                    <a:pt x="31" y="77"/>
                  </a:cubicBezTo>
                  <a:cubicBezTo>
                    <a:pt x="35" y="75"/>
                    <a:pt x="39" y="74"/>
                    <a:pt x="43" y="71"/>
                  </a:cubicBezTo>
                  <a:cubicBezTo>
                    <a:pt x="47" y="74"/>
                    <a:pt x="51" y="75"/>
                    <a:pt x="55" y="77"/>
                  </a:cubicBezTo>
                  <a:cubicBezTo>
                    <a:pt x="52" y="86"/>
                    <a:pt x="47" y="92"/>
                    <a:pt x="43" y="92"/>
                  </a:cubicBezTo>
                  <a:close/>
                  <a:moveTo>
                    <a:pt x="79" y="73"/>
                  </a:moveTo>
                  <a:cubicBezTo>
                    <a:pt x="77" y="76"/>
                    <a:pt x="70" y="77"/>
                    <a:pt x="60" y="74"/>
                  </a:cubicBezTo>
                  <a:cubicBezTo>
                    <a:pt x="61" y="69"/>
                    <a:pt x="62" y="64"/>
                    <a:pt x="63" y="58"/>
                  </a:cubicBezTo>
                  <a:cubicBezTo>
                    <a:pt x="65" y="56"/>
                    <a:pt x="68" y="53"/>
                    <a:pt x="71" y="51"/>
                  </a:cubicBezTo>
                  <a:cubicBezTo>
                    <a:pt x="72" y="53"/>
                    <a:pt x="74" y="55"/>
                    <a:pt x="75" y="57"/>
                  </a:cubicBezTo>
                  <a:cubicBezTo>
                    <a:pt x="80" y="64"/>
                    <a:pt x="81" y="70"/>
                    <a:pt x="79" y="73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373737"/>
                </a:solidFill>
              </a:endParaRPr>
            </a:p>
          </p:txBody>
        </p:sp>
        <p:sp>
          <p:nvSpPr>
            <p:cNvPr id="221" name="Freeform 15">
              <a:extLst>
                <a:ext uri="{FF2B5EF4-FFF2-40B4-BE49-F238E27FC236}">
                  <a16:creationId xmlns:a16="http://schemas.microsoft.com/office/drawing/2014/main" id="{BA8FBC84-52F2-5A08-BE54-6473D8B6A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46508" y="1802929"/>
              <a:ext cx="50219" cy="50998"/>
            </a:xfrm>
            <a:custGeom>
              <a:avLst/>
              <a:gdLst>
                <a:gd name="T0" fmla="*/ 10 w 20"/>
                <a:gd name="T1" fmla="*/ 0 h 20"/>
                <a:gd name="T2" fmla="*/ 0 w 20"/>
                <a:gd name="T3" fmla="*/ 10 h 20"/>
                <a:gd name="T4" fmla="*/ 10 w 20"/>
                <a:gd name="T5" fmla="*/ 20 h 20"/>
                <a:gd name="T6" fmla="*/ 20 w 20"/>
                <a:gd name="T7" fmla="*/ 10 h 20"/>
                <a:gd name="T8" fmla="*/ 10 w 20"/>
                <a:gd name="T9" fmla="*/ 0 h 20"/>
                <a:gd name="T10" fmla="*/ 10 w 20"/>
                <a:gd name="T11" fmla="*/ 16 h 20"/>
                <a:gd name="T12" fmla="*/ 4 w 20"/>
                <a:gd name="T13" fmla="*/ 10 h 20"/>
                <a:gd name="T14" fmla="*/ 10 w 20"/>
                <a:gd name="T15" fmla="*/ 4 h 20"/>
                <a:gd name="T16" fmla="*/ 16 w 20"/>
                <a:gd name="T17" fmla="*/ 10 h 20"/>
                <a:gd name="T18" fmla="*/ 10 w 20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lose/>
                  <a:moveTo>
                    <a:pt x="10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373737"/>
                </a:solidFill>
              </a:endParaRPr>
            </a:p>
          </p:txBody>
        </p:sp>
      </p:grpSp>
      <p:grpSp>
        <p:nvGrpSpPr>
          <p:cNvPr id="223" name="Group 54">
            <a:extLst>
              <a:ext uri="{FF2B5EF4-FFF2-40B4-BE49-F238E27FC236}">
                <a16:creationId xmlns:a16="http://schemas.microsoft.com/office/drawing/2014/main" id="{581C97CC-363D-8052-A037-B6DEC1FFFA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58457" y="1702431"/>
            <a:ext cx="282064" cy="252002"/>
            <a:chOff x="6718" y="681"/>
            <a:chExt cx="441" cy="394"/>
          </a:xfrm>
          <a:solidFill>
            <a:schemeClr val="bg1"/>
          </a:solidFill>
        </p:grpSpPr>
        <p:sp>
          <p:nvSpPr>
            <p:cNvPr id="225" name="Freeform 55">
              <a:extLst>
                <a:ext uri="{FF2B5EF4-FFF2-40B4-BE49-F238E27FC236}">
                  <a16:creationId xmlns:a16="http://schemas.microsoft.com/office/drawing/2014/main" id="{F52869DF-7F58-101E-31A3-D0411AA5B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681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5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50" y="60"/>
                    <a:pt x="60" y="49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6" name="Freeform 56">
              <a:extLst>
                <a:ext uri="{FF2B5EF4-FFF2-40B4-BE49-F238E27FC236}">
                  <a16:creationId xmlns:a16="http://schemas.microsoft.com/office/drawing/2014/main" id="{D9522C0F-9FB8-170A-8C16-758599FCE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717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7" name="Freeform 57">
              <a:extLst>
                <a:ext uri="{FF2B5EF4-FFF2-40B4-BE49-F238E27FC236}">
                  <a16:creationId xmlns:a16="http://schemas.microsoft.com/office/drawing/2014/main" id="{D6A3A985-B27B-68FA-ECB9-7CC4F58A9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717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8" name="Freeform 58">
              <a:extLst>
                <a:ext uri="{FF2B5EF4-FFF2-40B4-BE49-F238E27FC236}">
                  <a16:creationId xmlns:a16="http://schemas.microsoft.com/office/drawing/2014/main" id="{77B5DD6B-809E-10CA-F97E-0A6C5373F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8" y="989"/>
              <a:ext cx="441" cy="86"/>
            </a:xfrm>
            <a:custGeom>
              <a:avLst/>
              <a:gdLst>
                <a:gd name="T0" fmla="*/ 144 w 288"/>
                <a:gd name="T1" fmla="*/ 58 h 58"/>
                <a:gd name="T2" fmla="*/ 0 w 288"/>
                <a:gd name="T3" fmla="*/ 28 h 58"/>
                <a:gd name="T4" fmla="*/ 83 w 288"/>
                <a:gd name="T5" fmla="*/ 0 h 58"/>
                <a:gd name="T6" fmla="*/ 90 w 288"/>
                <a:gd name="T7" fmla="*/ 6 h 58"/>
                <a:gd name="T8" fmla="*/ 84 w 288"/>
                <a:gd name="T9" fmla="*/ 12 h 58"/>
                <a:gd name="T10" fmla="*/ 13 w 288"/>
                <a:gd name="T11" fmla="*/ 28 h 58"/>
                <a:gd name="T12" fmla="*/ 144 w 288"/>
                <a:gd name="T13" fmla="*/ 46 h 58"/>
                <a:gd name="T14" fmla="*/ 276 w 288"/>
                <a:gd name="T15" fmla="*/ 28 h 58"/>
                <a:gd name="T16" fmla="*/ 204 w 288"/>
                <a:gd name="T17" fmla="*/ 12 h 58"/>
                <a:gd name="T18" fmla="*/ 198 w 288"/>
                <a:gd name="T19" fmla="*/ 6 h 58"/>
                <a:gd name="T20" fmla="*/ 205 w 288"/>
                <a:gd name="T21" fmla="*/ 0 h 58"/>
                <a:gd name="T22" fmla="*/ 288 w 288"/>
                <a:gd name="T23" fmla="*/ 28 h 58"/>
                <a:gd name="T24" fmla="*/ 144 w 288"/>
                <a:gd name="T25" fmla="*/ 58 h 58"/>
                <a:gd name="T26" fmla="*/ 277 w 288"/>
                <a:gd name="T27" fmla="*/ 28 h 58"/>
                <a:gd name="T28" fmla="*/ 277 w 288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8">
                  <a:moveTo>
                    <a:pt x="144" y="58"/>
                  </a:moveTo>
                  <a:cubicBezTo>
                    <a:pt x="130" y="58"/>
                    <a:pt x="0" y="57"/>
                    <a:pt x="0" y="28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90" y="2"/>
                    <a:pt x="90" y="6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8"/>
                  </a:cubicBezTo>
                  <a:cubicBezTo>
                    <a:pt x="19" y="34"/>
                    <a:pt x="65" y="46"/>
                    <a:pt x="144" y="46"/>
                  </a:cubicBezTo>
                  <a:cubicBezTo>
                    <a:pt x="223" y="46"/>
                    <a:pt x="270" y="34"/>
                    <a:pt x="276" y="28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1" y="12"/>
                    <a:pt x="198" y="9"/>
                    <a:pt x="198" y="6"/>
                  </a:cubicBezTo>
                  <a:cubicBezTo>
                    <a:pt x="199" y="2"/>
                    <a:pt x="202" y="0"/>
                    <a:pt x="205" y="0"/>
                  </a:cubicBezTo>
                  <a:cubicBezTo>
                    <a:pt x="260" y="5"/>
                    <a:pt x="288" y="14"/>
                    <a:pt x="288" y="28"/>
                  </a:cubicBezTo>
                  <a:cubicBezTo>
                    <a:pt x="288" y="57"/>
                    <a:pt x="159" y="58"/>
                    <a:pt x="144" y="58"/>
                  </a:cubicBezTo>
                  <a:close/>
                  <a:moveTo>
                    <a:pt x="277" y="28"/>
                  </a:moveTo>
                  <a:cubicBezTo>
                    <a:pt x="277" y="28"/>
                    <a:pt x="277" y="28"/>
                    <a:pt x="27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9" name="Freeform 59">
              <a:extLst>
                <a:ext uri="{FF2B5EF4-FFF2-40B4-BE49-F238E27FC236}">
                  <a16:creationId xmlns:a16="http://schemas.microsoft.com/office/drawing/2014/main" id="{C890EABD-0269-9468-C48A-403CC3320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806"/>
              <a:ext cx="110" cy="180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70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ubicBezTo>
                    <a:pt x="23" y="12"/>
                    <a:pt x="12" y="22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30" name="Freeform 60">
              <a:extLst>
                <a:ext uri="{FF2B5EF4-FFF2-40B4-BE49-F238E27FC236}">
                  <a16:creationId xmlns:a16="http://schemas.microsoft.com/office/drawing/2014/main" id="{D59C5876-7283-F345-2FF0-0332A84994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806"/>
              <a:ext cx="74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31" name="Freeform 61">
              <a:extLst>
                <a:ext uri="{FF2B5EF4-FFF2-40B4-BE49-F238E27FC236}">
                  <a16:creationId xmlns:a16="http://schemas.microsoft.com/office/drawing/2014/main" id="{B9B090DD-7548-15DE-4593-95F696931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806"/>
              <a:ext cx="73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</p:grpSp>
      <p:grpSp>
        <p:nvGrpSpPr>
          <p:cNvPr id="234" name="Group 49">
            <a:extLst>
              <a:ext uri="{FF2B5EF4-FFF2-40B4-BE49-F238E27FC236}">
                <a16:creationId xmlns:a16="http://schemas.microsoft.com/office/drawing/2014/main" id="{96EF269B-A7C9-808F-CE47-077206C115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57801" y="1702427"/>
            <a:ext cx="252593" cy="252000"/>
            <a:chOff x="1374" y="1718"/>
            <a:chExt cx="427" cy="426"/>
          </a:xfrm>
          <a:solidFill>
            <a:schemeClr val="bg1"/>
          </a:solidFill>
        </p:grpSpPr>
        <p:sp>
          <p:nvSpPr>
            <p:cNvPr id="235" name="Freeform 50">
              <a:extLst>
                <a:ext uri="{FF2B5EF4-FFF2-40B4-BE49-F238E27FC236}">
                  <a16:creationId xmlns:a16="http://schemas.microsoft.com/office/drawing/2014/main" id="{C43FA4A4-5FFB-5F82-B789-84EBDE7448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1718"/>
              <a:ext cx="427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373737"/>
                </a:solidFill>
              </a:endParaRPr>
            </a:p>
          </p:txBody>
        </p:sp>
        <p:sp>
          <p:nvSpPr>
            <p:cNvPr id="236" name="Freeform 51">
              <a:extLst>
                <a:ext uri="{FF2B5EF4-FFF2-40B4-BE49-F238E27FC236}">
                  <a16:creationId xmlns:a16="http://schemas.microsoft.com/office/drawing/2014/main" id="{B106C518-A5E8-4803-A706-8403EF95C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0" y="1824"/>
              <a:ext cx="126" cy="214"/>
            </a:xfrm>
            <a:custGeom>
              <a:avLst/>
              <a:gdLst>
                <a:gd name="T0" fmla="*/ 78 w 85"/>
                <a:gd name="T1" fmla="*/ 144 h 144"/>
                <a:gd name="T2" fmla="*/ 74 w 85"/>
                <a:gd name="T3" fmla="*/ 142 h 144"/>
                <a:gd name="T4" fmla="*/ 2 w 85"/>
                <a:gd name="T5" fmla="*/ 76 h 144"/>
                <a:gd name="T6" fmla="*/ 0 w 85"/>
                <a:gd name="T7" fmla="*/ 72 h 144"/>
                <a:gd name="T8" fmla="*/ 0 w 85"/>
                <a:gd name="T9" fmla="*/ 6 h 144"/>
                <a:gd name="T10" fmla="*/ 6 w 85"/>
                <a:gd name="T11" fmla="*/ 0 h 144"/>
                <a:gd name="T12" fmla="*/ 12 w 85"/>
                <a:gd name="T13" fmla="*/ 6 h 144"/>
                <a:gd name="T14" fmla="*/ 12 w 85"/>
                <a:gd name="T15" fmla="*/ 69 h 144"/>
                <a:gd name="T16" fmla="*/ 82 w 85"/>
                <a:gd name="T17" fmla="*/ 133 h 144"/>
                <a:gd name="T18" fmla="*/ 82 w 85"/>
                <a:gd name="T19" fmla="*/ 142 h 144"/>
                <a:gd name="T20" fmla="*/ 78 w 85"/>
                <a:gd name="T2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44">
                  <a:moveTo>
                    <a:pt x="78" y="144"/>
                  </a:moveTo>
                  <a:cubicBezTo>
                    <a:pt x="76" y="144"/>
                    <a:pt x="75" y="143"/>
                    <a:pt x="74" y="14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5"/>
                    <a:pt x="0" y="73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84" y="135"/>
                    <a:pt x="85" y="139"/>
                    <a:pt x="82" y="142"/>
                  </a:cubicBezTo>
                  <a:cubicBezTo>
                    <a:pt x="81" y="143"/>
                    <a:pt x="79" y="144"/>
                    <a:pt x="78" y="1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373737"/>
                </a:solidFill>
              </a:endParaRPr>
            </a:p>
          </p:txBody>
        </p:sp>
      </p:grpSp>
      <p:sp>
        <p:nvSpPr>
          <p:cNvPr id="246" name="Inhaltsplatzhalter 4">
            <a:extLst>
              <a:ext uri="{FF2B5EF4-FFF2-40B4-BE49-F238E27FC236}">
                <a16:creationId xmlns:a16="http://schemas.microsoft.com/office/drawing/2014/main" id="{0111E7D6-C3CF-BE79-FA57-37813F4D785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88475" y="2964922"/>
            <a:ext cx="2700000" cy="317307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rgbClr val="7192C7"/>
              </a:buClr>
              <a:defRPr sz="7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sp>
        <p:nvSpPr>
          <p:cNvPr id="247" name="Inhaltsplatzhalter 4">
            <a:extLst>
              <a:ext uri="{FF2B5EF4-FFF2-40B4-BE49-F238E27FC236}">
                <a16:creationId xmlns:a16="http://schemas.microsoft.com/office/drawing/2014/main" id="{653057E7-22F9-86D9-B605-A795406FCC5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707432" y="2964922"/>
            <a:ext cx="3005294" cy="317307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rgbClr val="7192C7"/>
              </a:buClr>
              <a:defRPr sz="7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cxnSp>
        <p:nvCxnSpPr>
          <p:cNvPr id="248" name="Straight Connector 22">
            <a:extLst>
              <a:ext uri="{FF2B5EF4-FFF2-40B4-BE49-F238E27FC236}">
                <a16:creationId xmlns:a16="http://schemas.microsoft.com/office/drawing/2014/main" id="{7CC30D84-1E3D-EC2D-33DE-511DE8F23B15}"/>
              </a:ext>
            </a:extLst>
          </p:cNvPr>
          <p:cNvCxnSpPr/>
          <p:nvPr/>
        </p:nvCxnSpPr>
        <p:spPr>
          <a:xfrm>
            <a:off x="9582434" y="1672855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3">
            <a:extLst>
              <a:ext uri="{FF2B5EF4-FFF2-40B4-BE49-F238E27FC236}">
                <a16:creationId xmlns:a16="http://schemas.microsoft.com/office/drawing/2014/main" id="{9AA65630-B3E2-B9F4-55AA-72DB2A953044}"/>
              </a:ext>
            </a:extLst>
          </p:cNvPr>
          <p:cNvCxnSpPr/>
          <p:nvPr/>
        </p:nvCxnSpPr>
        <p:spPr>
          <a:xfrm>
            <a:off x="7016166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">
            <a:extLst>
              <a:ext uri="{FF2B5EF4-FFF2-40B4-BE49-F238E27FC236}">
                <a16:creationId xmlns:a16="http://schemas.microsoft.com/office/drawing/2014/main" id="{31961AFE-E1BF-BC7B-25B3-2180D6138CB0}"/>
              </a:ext>
            </a:extLst>
          </p:cNvPr>
          <p:cNvCxnSpPr/>
          <p:nvPr/>
        </p:nvCxnSpPr>
        <p:spPr>
          <a:xfrm>
            <a:off x="4715510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8702168-7311-060B-0D3A-25A9452FB674}"/>
              </a:ext>
            </a:extLst>
          </p:cNvPr>
          <p:cNvGrpSpPr/>
          <p:nvPr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F39201A7-8696-AD95-0E3B-EBED06C9F14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46A704E6-B221-9DB5-C484-794E974F4FD3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8C9A13A4-9489-DBCC-974E-D82FE439352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45D8400D-1ECD-B52B-0835-C2201BBCAE71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2A5F1A36-1861-7F1D-AAE4-F4E02ACEA2E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47958642-9C3E-5C76-7A92-FAB0E72423F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9215827F-8521-46BD-B127-F95C1F3E8AC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FA0404F2-F9A4-815F-04D6-40FA937CFD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1471857"/>
            <a:ext cx="950014" cy="685756"/>
          </a:xfrm>
          <a:solidFill>
            <a:schemeClr val="accent1"/>
          </a:solidFill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 cap="all" spc="4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897E55EE-C6A9-29B9-8072-9939ABCC44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spcAft>
                <a:spcPts val="1200"/>
              </a:spcAft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374415966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D8045785-A786-2965-D7DA-37E18DF05E69}"/>
              </a:ext>
            </a:extLst>
          </p:cNvPr>
          <p:cNvSpPr/>
          <p:nvPr userDrawn="1"/>
        </p:nvSpPr>
        <p:spPr>
          <a:xfrm>
            <a:off x="0" y="0"/>
            <a:ext cx="303047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EBF020B0-4C1A-A85A-C615-DE166A33657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88462" y="4014028"/>
            <a:ext cx="2418103" cy="164543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DE020-FA58-4518-95E1-C45D37F1AE8D}" type="datetime1">
              <a:rPr lang="de-DE" smtClean="0"/>
              <a:t>03.06.25</a:t>
            </a:fld>
            <a:endParaRPr lang="en-DE"/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5558FB73-57C5-8116-220A-D3AD548EDC5B}"/>
              </a:ext>
            </a:extLst>
          </p:cNvPr>
          <p:cNvSpPr>
            <a:spLocks/>
          </p:cNvSpPr>
          <p:nvPr userDrawn="1"/>
        </p:nvSpPr>
        <p:spPr>
          <a:xfrm>
            <a:off x="3247391" y="1187255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>
                <a:solidFill>
                  <a:srgbClr val="7DA0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  <a:endParaRPr lang="de-DE" sz="1400" b="1" cap="all" spc="0" baseline="0">
              <a:solidFill>
                <a:srgbClr val="7DA0D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6728443" y="1190820"/>
            <a:ext cx="3292312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rgbClr val="7DA0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468375" y="3463942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2" descr="Platzhalter-fuer-Mitarbeiter - Rheinlands Reiter+Pferde">
            <a:extLst>
              <a:ext uri="{FF2B5EF4-FFF2-40B4-BE49-F238E27FC236}">
                <a16:creationId xmlns:a16="http://schemas.microsoft.com/office/drawing/2014/main" id="{E8222455-90EB-C3FB-6815-80093D607E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225" y="1198538"/>
            <a:ext cx="2094642" cy="2094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Inhaltsplatzhalter 4">
            <a:extLst>
              <a:ext uri="{FF2B5EF4-FFF2-40B4-BE49-F238E27FC236}">
                <a16:creationId xmlns:a16="http://schemas.microsoft.com/office/drawing/2014/main" id="{09DD51D7-4D1E-C3DA-6565-A742DD620C2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7391" y="1665287"/>
            <a:ext cx="2848609" cy="4455579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9BB58FD0-B73B-E71C-D22B-ABF80E57F97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28442" y="1665287"/>
            <a:ext cx="4984285" cy="4455580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2427766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430925" y="3309736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1" name="Datumsplatzhalter 2">
            <a:extLst>
              <a:ext uri="{FF2B5EF4-FFF2-40B4-BE49-F238E27FC236}">
                <a16:creationId xmlns:a16="http://schemas.microsoft.com/office/drawing/2014/main" id="{2FC16F5E-064F-C739-7C21-EE2817583E21}"/>
              </a:ext>
            </a:extLst>
          </p:cNvPr>
          <p:cNvSpPr txBox="1">
            <a:spLocks/>
          </p:cNvSpPr>
          <p:nvPr userDrawn="1"/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DE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A97715-E243-44FB-A4DF-8B24568E8B84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36" name="Textplatzhalter 17">
            <a:extLst>
              <a:ext uri="{FF2B5EF4-FFF2-40B4-BE49-F238E27FC236}">
                <a16:creationId xmlns:a16="http://schemas.microsoft.com/office/drawing/2014/main" id="{F5B36707-3284-22AF-1836-4398757E46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242" y="3530628"/>
            <a:ext cx="2419323" cy="307777"/>
          </a:xfrm>
        </p:spPr>
        <p:txBody>
          <a:bodyPr/>
          <a:lstStyle>
            <a:lvl1pPr>
              <a:defRPr>
                <a:solidFill>
                  <a:srgbClr val="7192C7"/>
                </a:solidFill>
              </a:defRPr>
            </a:lvl1pPr>
          </a:lstStyle>
          <a:p>
            <a:pPr>
              <a:spcAft>
                <a:spcPts val="600"/>
              </a:spcAft>
              <a:buClr>
                <a:srgbClr val="7DA0D7"/>
              </a:buClr>
            </a:pPr>
            <a:r>
              <a:rPr lang="de-DE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EXPERTISE</a:t>
            </a:r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rgbClr val="7192C7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386991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">
    <p:bg>
      <p:bgPr>
        <a:solidFill>
          <a:srgbClr val="FF4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TTENTION…">
            <a:extLst>
              <a:ext uri="{FF2B5EF4-FFF2-40B4-BE49-F238E27FC236}">
                <a16:creationId xmlns:a16="http://schemas.microsoft.com/office/drawing/2014/main" id="{C32A0A91-C761-BAF3-B496-78F4F984A827}"/>
              </a:ext>
            </a:extLst>
          </p:cNvPr>
          <p:cNvSpPr/>
          <p:nvPr userDrawn="1"/>
        </p:nvSpPr>
        <p:spPr>
          <a:xfrm>
            <a:off x="217068" y="184150"/>
            <a:ext cx="11757864" cy="648970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0" tIns="0" rIns="0" bIns="0" anchor="ctr">
            <a:normAutofit/>
          </a:bodyPr>
          <a:lstStyle/>
          <a:p>
            <a:pPr algn="ctr" defTabSz="547687" hangingPunct="0">
              <a:defRPr sz="120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7200" b="1" kern="0">
                <a:solidFill>
                  <a:srgbClr val="000000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TTENTION</a:t>
            </a: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— This is not a template —</a:t>
            </a:r>
          </a:p>
          <a:p>
            <a:pPr algn="ctr" defTabSz="547687" hangingPunct="0">
              <a:defRPr sz="6400" spc="0">
                <a:solidFill>
                  <a:srgbClr val="FF2952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sz="4000" b="1" kern="0">
              <a:solidFill>
                <a:srgbClr val="FF2952"/>
              </a:solidFill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ll following pages were created by </a:t>
            </a:r>
            <a:b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</a:b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old or other presentations. </a:t>
            </a: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sz="2800" b="1" kern="0" spc="192">
              <a:solidFill>
                <a:srgbClr val="FFFFFF"/>
              </a:solidFill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algn="ctr" defTabSz="547687" hangingPunct="0">
              <a:defRPr sz="48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>
                <a:solidFill>
                  <a:srgbClr val="000000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Please delete or replace!</a:t>
            </a:r>
          </a:p>
        </p:txBody>
      </p:sp>
    </p:spTree>
    <p:extLst>
      <p:ext uri="{BB962C8B-B14F-4D97-AF65-F5344CB8AC3E}">
        <p14:creationId xmlns:p14="http://schemas.microsoft.com/office/powerpoint/2010/main" val="3030685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tags" Target="../tags/tag36.xml"/><Relationship Id="rId8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oleObject" Target="../embeddings/oleObject4.bin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tags" Target="../tags/tag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FDF44F-0737-BABD-FFEA-A2CFC9579A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0802939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7772400" imgH="10058400" progId="TCLayout.ActiveDocument.1">
                  <p:embed/>
                </p:oleObj>
              </mc:Choice>
              <mc:Fallback>
                <p:oleObj name="think-cell Folie" r:id="rId38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FDF44F-0737-BABD-FFEA-A2CFC9579A41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9FBCA90-9E96-4CFE-A5C4-3B57E520FD26}" type="datetime1">
              <a:rPr lang="de-DE" smtClean="0"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494411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769" r:id="rId9"/>
    <p:sldLayoutId id="2147483770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693" r:id="rId25"/>
    <p:sldLayoutId id="2147483694" r:id="rId26"/>
    <p:sldLayoutId id="2147483695" r:id="rId27"/>
    <p:sldLayoutId id="2147483696" r:id="rId28"/>
    <p:sldLayoutId id="2147483697" r:id="rId29"/>
    <p:sldLayoutId id="2147483698" r:id="rId30"/>
    <p:sldLayoutId id="2147483699" r:id="rId31"/>
    <p:sldLayoutId id="2147483700" r:id="rId32"/>
    <p:sldLayoutId id="2147483701" r:id="rId33"/>
    <p:sldLayoutId id="2147483702" r:id="rId34"/>
    <p:sldLayoutId id="2147483703" r:id="rId3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4020">
          <p15:clr>
            <a:srgbClr val="F26B43"/>
          </p15:clr>
        </p15:guide>
        <p15:guide id="3" orient="horz" pos="1063">
          <p15:clr>
            <a:srgbClr val="F26B43"/>
          </p15:clr>
        </p15:guide>
        <p15:guide id="4" pos="302">
          <p15:clr>
            <a:srgbClr val="F26B43"/>
          </p15:clr>
        </p15:guide>
        <p15:guide id="5" pos="737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A63458B-5C0F-1841-D418-EDEEF1311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42762052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7772400" imgH="10058400" progId="TCLayout.ActiveDocument.1">
                  <p:embed/>
                </p:oleObj>
              </mc:Choice>
              <mc:Fallback>
                <p:oleObj name="think-cell Folie" r:id="rId36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63458B-5C0F-1841-D418-EDEEF1311B5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19999"/>
            <a:ext cx="11232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A2075-B767-A0E7-D40F-8D9F91D37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478800" y="1692000"/>
            <a:ext cx="11232000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45468B3-F948-46FB-B774-0ADA4DBFA7C5}" type="datetime1">
              <a:rPr lang="de-DE" smtClean="0"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827565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1" r:id="rId26"/>
    <p:sldLayoutId id="2147483732" r:id="rId27"/>
    <p:sldLayoutId id="2147483733" r:id="rId28"/>
    <p:sldLayoutId id="2147483734" r:id="rId29"/>
    <p:sldLayoutId id="2147483735" r:id="rId30"/>
    <p:sldLayoutId id="2147483736" r:id="rId31"/>
    <p:sldLayoutId id="2147483737" r:id="rId32"/>
    <p:sldLayoutId id="2147483738" r:id="rId3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Tx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Tx/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Tx/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Tx/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Arial" panose="020B0604020202020204" pitchFamily="34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7378">
          <p15:clr>
            <a:srgbClr val="F26B43"/>
          </p15:clr>
        </p15:guide>
        <p15:guide id="5" orient="horz" pos="1063">
          <p15:clr>
            <a:srgbClr val="F26B43"/>
          </p15:clr>
        </p15:guide>
        <p15:guide id="6" orient="horz" pos="40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841FA5-4467-D6FA-ACD8-3E928258CF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488313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435" imgH="435" progId="TCLayout.ActiveDocument.1">
                  <p:embed/>
                </p:oleObj>
              </mc:Choice>
              <mc:Fallback>
                <p:oleObj name="think-cell Folie" r:id="rId28" imgW="435" imgH="43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841FA5-4467-D6FA-ACD8-3E928258CFFD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A759DF8-08C7-465E-B3DC-F4D4EEF1C172}" type="datetime1">
              <a:rPr lang="de-DE" smtClean="0"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Angebot GLKB-01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165450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4020">
          <p15:clr>
            <a:srgbClr val="F26B43"/>
          </p15:clr>
        </p15:guide>
        <p15:guide id="3" orient="horz" pos="1063">
          <p15:clr>
            <a:srgbClr val="F26B43"/>
          </p15:clr>
        </p15:guide>
        <p15:guide id="4" pos="302">
          <p15:clr>
            <a:srgbClr val="F26B43"/>
          </p15:clr>
        </p15:guide>
        <p15:guide id="5" pos="737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6.xml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C695CDA-47FD-4A98-81C6-177866ACE4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695CDA-47FD-4A98-81C6-177866ACE43B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0A837F-3338-CD64-9CFF-FA028F4114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8800" y="6555600"/>
            <a:ext cx="662400" cy="1224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13BA3-4DBD-492F-AF1C-C76B12832872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6.25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Titel 41">
            <a:extLst>
              <a:ext uri="{FF2B5EF4-FFF2-40B4-BE49-F238E27FC236}">
                <a16:creationId xmlns:a16="http://schemas.microsoft.com/office/drawing/2014/main" id="{5D26ADF9-6747-7E6C-E413-DEB014BDA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8" y="720000"/>
            <a:ext cx="11233928" cy="307777"/>
          </a:xfrm>
        </p:spPr>
        <p:txBody>
          <a:bodyPr vert="horz"/>
          <a:lstStyle/>
          <a:p>
            <a:r>
              <a:rPr lang="de-DE" dirty="0"/>
              <a:t>Nam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F0EE66-1B3F-2171-B6D0-E4F7DBA873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04D3178-79C8-FBCA-F4B6-C7EC0C892DE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6C92BC32-BF5F-F8BE-D077-633C0C7D94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396000"/>
            <a:ext cx="9511200" cy="216000"/>
          </a:xfrm>
        </p:spPr>
        <p:txBody>
          <a:bodyPr/>
          <a:lstStyle/>
          <a:p>
            <a:r>
              <a:rPr lang="de-DE" b="0"/>
              <a:t>Partner </a:t>
            </a:r>
            <a:r>
              <a:rPr lang="de-DE" b="0" err="1"/>
              <a:t>principal</a:t>
            </a:r>
            <a:r>
              <a:rPr lang="de-DE" b="0"/>
              <a:t> </a:t>
            </a:r>
            <a:r>
              <a:rPr lang="de-DE" b="0" err="1"/>
              <a:t>consultant</a:t>
            </a:r>
            <a:endParaRPr lang="de-DE" b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5EAD3A6B-B085-1655-6538-C3844325E0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/>
          <a:lstStyle/>
          <a:p>
            <a:pPr lvl="2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1FDD66D-C9EF-4DEA-0BD9-072974B06F7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F187487-62DA-B786-BBBF-5E582A165F9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247391" y="1530910"/>
            <a:ext cx="3214778" cy="1950990"/>
          </a:xfrm>
        </p:spPr>
        <p:txBody>
          <a:bodyPr/>
          <a:lstStyle/>
          <a:p>
            <a:pPr lvl="2"/>
            <a:endParaRPr lang="de-DE" sz="100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7510ED7-CF45-517E-9B80-514F4CEC3A5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684354" y="1530910"/>
            <a:ext cx="4453037" cy="1950990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0028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spcBef>
            <a:spcPts val="400"/>
          </a:spcBef>
          <a:spcAft>
            <a:spcPts val="400"/>
          </a:spcAft>
          <a:defRPr sz="12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Black">
      <a:srgbClr val="000000"/>
    </a:custClr>
    <a:custClr name="Dark Gray">
      <a:srgbClr val="373737"/>
    </a:custClr>
    <a:custClr name="Mid Gray 1">
      <a:srgbClr val="575757"/>
    </a:custClr>
    <a:custClr name="Mid Gray 2">
      <a:srgbClr val="929292"/>
    </a:custClr>
    <a:custClr name="Mid Gray 3">
      <a:srgbClr val="A8A8A8"/>
    </a:custClr>
    <a:custClr name="Lt. Gray">
      <a:srgbClr val="C4C4C4"/>
    </a:custClr>
    <a:custClr name="Lt. Lt. Gray">
      <a:srgbClr val="D0D0D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2.xml><?xml version="1.0" encoding="utf-8"?>
<a:theme xmlns:a="http://schemas.openxmlformats.org/drawingml/2006/main" name="Senacor 2023 (Dark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spcAft>
            <a:spcPts val="330"/>
          </a:spcAft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Black">
      <a:srgbClr val="000000"/>
    </a:custClr>
    <a:custClr name="Dark Gray">
      <a:srgbClr val="373737"/>
    </a:custClr>
    <a:custClr name="Mid Gray 1">
      <a:srgbClr val="575757"/>
    </a:custClr>
    <a:custClr name="Mid Gray 2">
      <a:srgbClr val="929292"/>
    </a:custClr>
    <a:custClr name="Mid Gray 3">
      <a:srgbClr val="A8A8A8"/>
    </a:custClr>
    <a:custClr name="Lt. Gray">
      <a:srgbClr val="C4C4C4"/>
    </a:custClr>
    <a:custClr name="Lt. Lt. Gray">
      <a:srgbClr val="D0D0D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enacor Master_2023" id="{69E2B91C-73F8-3141-9371-DDB6FAB7484B}" vid="{D24E23BC-4089-724E-AE17-D279E1740A09}"/>
    </a:ext>
  </a:extLst>
</a:theme>
</file>

<file path=ppt/theme/theme3.xml><?xml version="1.0" encoding="utf-8"?>
<a:theme xmlns:a="http://schemas.openxmlformats.org/drawingml/2006/main" name="1_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30"/>
          </a:spcAft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enacor PPT 2023">
    <a:dk1>
      <a:srgbClr val="000000"/>
    </a:dk1>
    <a:lt1>
      <a:srgbClr val="FFFFFF"/>
    </a:lt1>
    <a:dk2>
      <a:srgbClr val="929292"/>
    </a:dk2>
    <a:lt2>
      <a:srgbClr val="373737"/>
    </a:lt2>
    <a:accent1>
      <a:srgbClr val="7091C8"/>
    </a:accent1>
    <a:accent2>
      <a:srgbClr val="82B8A1"/>
    </a:accent2>
    <a:accent3>
      <a:srgbClr val="C4C4C4"/>
    </a:accent3>
    <a:accent4>
      <a:srgbClr val="A8A8A8"/>
    </a:accent4>
    <a:accent5>
      <a:srgbClr val="D0D0D0"/>
    </a:accent5>
    <a:accent6>
      <a:srgbClr val="F6C111"/>
    </a:accent6>
    <a:hlink>
      <a:srgbClr val="7191C8"/>
    </a:hlink>
    <a:folHlink>
      <a:srgbClr val="596A8E"/>
    </a:folHlink>
  </a:clrScheme>
</a:themeOverride>
</file>

<file path=ppt/theme/themeOverride2.xml><?xml version="1.0" encoding="utf-8"?>
<a:themeOverride xmlns:a="http://schemas.openxmlformats.org/drawingml/2006/main">
  <a:clrScheme name="Senacor PPT 2023">
    <a:dk1>
      <a:srgbClr val="000000"/>
    </a:dk1>
    <a:lt1>
      <a:srgbClr val="FFFFFF"/>
    </a:lt1>
    <a:dk2>
      <a:srgbClr val="929292"/>
    </a:dk2>
    <a:lt2>
      <a:srgbClr val="373737"/>
    </a:lt2>
    <a:accent1>
      <a:srgbClr val="7091C8"/>
    </a:accent1>
    <a:accent2>
      <a:srgbClr val="82B8A1"/>
    </a:accent2>
    <a:accent3>
      <a:srgbClr val="C4C4C4"/>
    </a:accent3>
    <a:accent4>
      <a:srgbClr val="A8A8A8"/>
    </a:accent4>
    <a:accent5>
      <a:srgbClr val="D0D0D0"/>
    </a:accent5>
    <a:accent6>
      <a:srgbClr val="F6C111"/>
    </a:accent6>
    <a:hlink>
      <a:srgbClr val="7191C8"/>
    </a:hlink>
    <a:folHlink>
      <a:srgbClr val="596A8E"/>
    </a:folHlink>
  </a:clrScheme>
</a:themeOverride>
</file>

<file path=ppt/theme/themeOverride3.xml><?xml version="1.0" encoding="utf-8"?>
<a:themeOverride xmlns:a="http://schemas.openxmlformats.org/drawingml/2006/main">
  <a:clrScheme name="Senacor PPT 2023">
    <a:dk1>
      <a:srgbClr val="000000"/>
    </a:dk1>
    <a:lt1>
      <a:srgbClr val="FFFFFF"/>
    </a:lt1>
    <a:dk2>
      <a:srgbClr val="929292"/>
    </a:dk2>
    <a:lt2>
      <a:srgbClr val="373737"/>
    </a:lt2>
    <a:accent1>
      <a:srgbClr val="7091C8"/>
    </a:accent1>
    <a:accent2>
      <a:srgbClr val="82B8A1"/>
    </a:accent2>
    <a:accent3>
      <a:srgbClr val="C4C4C4"/>
    </a:accent3>
    <a:accent4>
      <a:srgbClr val="A8A8A8"/>
    </a:accent4>
    <a:accent5>
      <a:srgbClr val="D0D0D0"/>
    </a:accent5>
    <a:accent6>
      <a:srgbClr val="F6C111"/>
    </a:accent6>
    <a:hlink>
      <a:srgbClr val="7191C8"/>
    </a:hlink>
    <a:folHlink>
      <a:srgbClr val="596A8E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3" ma:contentTypeDescription="Ein neues Dokument erstellen." ma:contentTypeScope="" ma:versionID="e751e2ca1d7ce197800ba94b0f09aa65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ab5c457f17bbc802fd4f1b72ab1df8c0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A13289F-CC21-4F13-ABF8-DAF3A1C271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1B280AD-1850-492D-8C76-1D2D1280455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2497ec2-0945-4f55-8021-79766363dd96}" enabled="0" method="" siteId="{52497ec2-0945-4f55-8021-79766363dd9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</Words>
  <Application>Microsoft Macintosh PowerPoint</Application>
  <PresentationFormat>Widescreen</PresentationFormat>
  <Paragraphs>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Barlow</vt:lpstr>
      <vt:lpstr>Calibri</vt:lpstr>
      <vt:lpstr>Symbol</vt:lpstr>
      <vt:lpstr>Wingdings</vt:lpstr>
      <vt:lpstr>Senacor 2023 (Light)</vt:lpstr>
      <vt:lpstr>Senacor 2023 (Dark)</vt:lpstr>
      <vt:lpstr>1_Senacor 2023 (Light)</vt:lpstr>
      <vt:lpstr>think-cell Folie</vt:lpstr>
      <vt:lpstr>Na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ürmeyer, Felix</dc:creator>
  <cp:lastModifiedBy>Heinrich, Daniel</cp:lastModifiedBy>
  <cp:revision>4</cp:revision>
  <dcterms:created xsi:type="dcterms:W3CDTF">2023-05-16T12:46:23Z</dcterms:created>
  <dcterms:modified xsi:type="dcterms:W3CDTF">2025-06-03T10:48:05Z</dcterms:modified>
</cp:coreProperties>
</file>